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6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7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8.xml" ContentType="application/vnd.openxmlformats-officedocument.theme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9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0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2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3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4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5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16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7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18.xml" ContentType="application/vnd.openxmlformats-officedocument.theme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9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20.xml" ContentType="application/vnd.openxmlformats-officedocument.theme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21.xml" ContentType="application/vnd.openxmlformats-officedocument.theme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2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23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24.xml" ContentType="application/vnd.openxmlformats-officedocument.theme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25.xml" ContentType="application/vnd.openxmlformats-officedocument.theme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26.xml" ContentType="application/vnd.openxmlformats-officedocument.theme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theme/theme27.xml" ContentType="application/vnd.openxmlformats-officedocument.theme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28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theme/theme29.xml" ContentType="application/vnd.openxmlformats-officedocument.theme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theme/theme30.xml" ContentType="application/vnd.openxmlformats-officedocument.theme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31.xml" ContentType="application/vnd.openxmlformats-officedocument.theme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theme/theme32.xml" ContentType="application/vnd.openxmlformats-officedocument.theme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theme/theme33.xml" ContentType="application/vnd.openxmlformats-officedocument.theme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theme/theme34.xml" ContentType="application/vnd.openxmlformats-officedocument.theme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theme/theme35.xml" ContentType="application/vnd.openxmlformats-officedocument.theme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36.xml" ContentType="application/vnd.openxmlformats-officedocument.theme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37.xml" ContentType="application/vnd.openxmlformats-officedocument.theme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theme/theme38.xml" ContentType="application/vnd.openxmlformats-officedocument.theme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theme/theme39.xml" ContentType="application/vnd.openxmlformats-officedocument.theme+xml"/>
  <Override PartName="/ppt/theme/themeOverride3.xml" ContentType="application/vnd.openxmlformats-officedocument.themeOverride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theme/theme40.xml" ContentType="application/vnd.openxmlformats-officedocument.theme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theme/theme41.xml" ContentType="application/vnd.openxmlformats-officedocument.theme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theme/theme42.xml" ContentType="application/vnd.openxmlformats-officedocument.theme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theme/theme43.xml" ContentType="application/vnd.openxmlformats-officedocument.theme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theme/theme44.xml" ContentType="application/vnd.openxmlformats-officedocument.theme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theme/theme45.xml" ContentType="application/vnd.openxmlformats-officedocument.theme+xml"/>
  <Override PartName="/ppt/tags/tag1.xml" ContentType="application/vnd.openxmlformats-officedocument.presentationml.tags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theme/theme46.xml" ContentType="application/vnd.openxmlformats-officedocument.theme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theme/theme47.xml" ContentType="application/vnd.openxmlformats-officedocument.theme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theme/theme48.xml" ContentType="application/vnd.openxmlformats-officedocument.theme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theme/theme49.xml" ContentType="application/vnd.openxmlformats-officedocument.theme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theme/theme5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theme/theme51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52.xml" ContentType="application/vnd.openxmlformats-officedocument.theme+xml"/>
  <Override PartName="/ppt/theme/theme5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1"/>
    <p:sldMasterId id="2147483780" r:id="rId2"/>
    <p:sldMasterId id="2147483809" r:id="rId3"/>
    <p:sldMasterId id="2147483821" r:id="rId4"/>
    <p:sldMasterId id="2147483844" r:id="rId5"/>
    <p:sldMasterId id="2147483859" r:id="rId6"/>
    <p:sldMasterId id="2147484635" r:id="rId7"/>
    <p:sldMasterId id="2147484653" r:id="rId8"/>
    <p:sldMasterId id="2147484783" r:id="rId9"/>
    <p:sldMasterId id="2147484798" r:id="rId10"/>
    <p:sldMasterId id="2147484966" r:id="rId11"/>
    <p:sldMasterId id="2147485092" r:id="rId12"/>
    <p:sldMasterId id="2147485137" r:id="rId13"/>
    <p:sldMasterId id="2147485403" r:id="rId14"/>
    <p:sldMasterId id="2147485457" r:id="rId15"/>
    <p:sldMasterId id="2147485469" r:id="rId16"/>
    <p:sldMasterId id="2147485481" r:id="rId17"/>
    <p:sldMasterId id="2147485583" r:id="rId18"/>
    <p:sldMasterId id="2147485667" r:id="rId19"/>
    <p:sldMasterId id="2147485683" r:id="rId20"/>
    <p:sldMasterId id="2147485715" r:id="rId21"/>
    <p:sldMasterId id="2147485731" r:id="rId22"/>
    <p:sldMasterId id="2147485795" r:id="rId23"/>
    <p:sldMasterId id="2147485863" r:id="rId24"/>
    <p:sldMasterId id="2147485881" r:id="rId25"/>
    <p:sldMasterId id="2147485899" r:id="rId26"/>
    <p:sldMasterId id="2147485969" r:id="rId27"/>
    <p:sldMasterId id="2147485992" r:id="rId28"/>
    <p:sldMasterId id="2147486012" r:id="rId29"/>
    <p:sldMasterId id="2147486030" r:id="rId30"/>
    <p:sldMasterId id="2147486084" r:id="rId31"/>
    <p:sldMasterId id="2147486102" r:id="rId32"/>
    <p:sldMasterId id="2147486120" r:id="rId33"/>
    <p:sldMasterId id="2147486150" r:id="rId34"/>
    <p:sldMasterId id="2147486166" r:id="rId35"/>
    <p:sldMasterId id="2147486180" r:id="rId36"/>
    <p:sldMasterId id="2147486196" r:id="rId37"/>
    <p:sldMasterId id="2147486211" r:id="rId38"/>
    <p:sldMasterId id="2147486226" r:id="rId39"/>
    <p:sldMasterId id="2147486238" r:id="rId40"/>
    <p:sldMasterId id="2147486256" r:id="rId41"/>
    <p:sldMasterId id="2147486271" r:id="rId42"/>
    <p:sldMasterId id="2147486283" r:id="rId43"/>
    <p:sldMasterId id="2147486307" r:id="rId44"/>
    <p:sldMasterId id="2147486334" r:id="rId45"/>
    <p:sldMasterId id="2147486375" r:id="rId46"/>
    <p:sldMasterId id="2147486393" r:id="rId47"/>
    <p:sldMasterId id="2147486429" r:id="rId48"/>
    <p:sldMasterId id="2147486443" r:id="rId49"/>
    <p:sldMasterId id="2147486457" r:id="rId50"/>
    <p:sldMasterId id="2147486471" r:id="rId51"/>
  </p:sldMasterIdLst>
  <p:notesMasterIdLst>
    <p:notesMasterId r:id="rId124"/>
  </p:notesMasterIdLst>
  <p:handoutMasterIdLst>
    <p:handoutMasterId r:id="rId125"/>
  </p:handoutMasterIdLst>
  <p:sldIdLst>
    <p:sldId id="471" r:id="rId52"/>
    <p:sldId id="472" r:id="rId53"/>
    <p:sldId id="491" r:id="rId54"/>
    <p:sldId id="566" r:id="rId55"/>
    <p:sldId id="290" r:id="rId56"/>
    <p:sldId id="293" r:id="rId57"/>
    <p:sldId id="445" r:id="rId58"/>
    <p:sldId id="295" r:id="rId59"/>
    <p:sldId id="503" r:id="rId60"/>
    <p:sldId id="299" r:id="rId61"/>
    <p:sldId id="300" r:id="rId62"/>
    <p:sldId id="473" r:id="rId63"/>
    <p:sldId id="367" r:id="rId64"/>
    <p:sldId id="368" r:id="rId65"/>
    <p:sldId id="492" r:id="rId66"/>
    <p:sldId id="493" r:id="rId67"/>
    <p:sldId id="494" r:id="rId68"/>
    <p:sldId id="582" r:id="rId69"/>
    <p:sldId id="581" r:id="rId70"/>
    <p:sldId id="344" r:id="rId71"/>
    <p:sldId id="345" r:id="rId72"/>
    <p:sldId id="487" r:id="rId73"/>
    <p:sldId id="460" r:id="rId74"/>
    <p:sldId id="461" r:id="rId75"/>
    <p:sldId id="463" r:id="rId76"/>
    <p:sldId id="464" r:id="rId77"/>
    <p:sldId id="488" r:id="rId78"/>
    <p:sldId id="506" r:id="rId79"/>
    <p:sldId id="527" r:id="rId80"/>
    <p:sldId id="519" r:id="rId81"/>
    <p:sldId id="591" r:id="rId82"/>
    <p:sldId id="592" r:id="rId83"/>
    <p:sldId id="373" r:id="rId84"/>
    <p:sldId id="507" r:id="rId85"/>
    <p:sldId id="586" r:id="rId86"/>
    <p:sldId id="587" r:id="rId87"/>
    <p:sldId id="510" r:id="rId88"/>
    <p:sldId id="511" r:id="rId89"/>
    <p:sldId id="529" r:id="rId90"/>
    <p:sldId id="531" r:id="rId91"/>
    <p:sldId id="588" r:id="rId92"/>
    <p:sldId id="589" r:id="rId93"/>
    <p:sldId id="590" r:id="rId94"/>
    <p:sldId id="530" r:id="rId95"/>
    <p:sldId id="532" r:id="rId96"/>
    <p:sldId id="540" r:id="rId97"/>
    <p:sldId id="541" r:id="rId98"/>
    <p:sldId id="542" r:id="rId99"/>
    <p:sldId id="512" r:id="rId100"/>
    <p:sldId id="513" r:id="rId101"/>
    <p:sldId id="514" r:id="rId102"/>
    <p:sldId id="584" r:id="rId103"/>
    <p:sldId id="515" r:id="rId104"/>
    <p:sldId id="516" r:id="rId105"/>
    <p:sldId id="517" r:id="rId106"/>
    <p:sldId id="539" r:id="rId107"/>
    <p:sldId id="543" r:id="rId108"/>
    <p:sldId id="544" r:id="rId109"/>
    <p:sldId id="545" r:id="rId110"/>
    <p:sldId id="548" r:id="rId111"/>
    <p:sldId id="549" r:id="rId112"/>
    <p:sldId id="550" r:id="rId113"/>
    <p:sldId id="567" r:id="rId114"/>
    <p:sldId id="551" r:id="rId115"/>
    <p:sldId id="552" r:id="rId116"/>
    <p:sldId id="553" r:id="rId117"/>
    <p:sldId id="585" r:id="rId118"/>
    <p:sldId id="576" r:id="rId119"/>
    <p:sldId id="577" r:id="rId120"/>
    <p:sldId id="574" r:id="rId121"/>
    <p:sldId id="573" r:id="rId122"/>
    <p:sldId id="580" r:id="rId123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1650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117" Type="http://schemas.openxmlformats.org/officeDocument/2006/relationships/slide" Target="slides/slide66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" Target="slides/slide12.xml"/><Relationship Id="rId68" Type="http://schemas.openxmlformats.org/officeDocument/2006/relationships/slide" Target="slides/slide17.xml"/><Relationship Id="rId84" Type="http://schemas.openxmlformats.org/officeDocument/2006/relationships/slide" Target="slides/slide33.xml"/><Relationship Id="rId89" Type="http://schemas.openxmlformats.org/officeDocument/2006/relationships/slide" Target="slides/slide38.xml"/><Relationship Id="rId112" Type="http://schemas.openxmlformats.org/officeDocument/2006/relationships/slide" Target="slides/slide61.xml"/><Relationship Id="rId16" Type="http://schemas.openxmlformats.org/officeDocument/2006/relationships/slideMaster" Target="slideMasters/slideMaster16.xml"/><Relationship Id="rId107" Type="http://schemas.openxmlformats.org/officeDocument/2006/relationships/slide" Target="slides/slide56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" Target="slides/slide2.xml"/><Relationship Id="rId58" Type="http://schemas.openxmlformats.org/officeDocument/2006/relationships/slide" Target="slides/slide7.xml"/><Relationship Id="rId74" Type="http://schemas.openxmlformats.org/officeDocument/2006/relationships/slide" Target="slides/slide23.xml"/><Relationship Id="rId79" Type="http://schemas.openxmlformats.org/officeDocument/2006/relationships/slide" Target="slides/slide28.xml"/><Relationship Id="rId102" Type="http://schemas.openxmlformats.org/officeDocument/2006/relationships/slide" Target="slides/slide51.xml"/><Relationship Id="rId123" Type="http://schemas.openxmlformats.org/officeDocument/2006/relationships/slide" Target="slides/slide72.xml"/><Relationship Id="rId12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39.xml"/><Relationship Id="rId95" Type="http://schemas.openxmlformats.org/officeDocument/2006/relationships/slide" Target="slides/slide44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" Target="slides/slide5.xml"/><Relationship Id="rId64" Type="http://schemas.openxmlformats.org/officeDocument/2006/relationships/slide" Target="slides/slide13.xml"/><Relationship Id="rId69" Type="http://schemas.openxmlformats.org/officeDocument/2006/relationships/slide" Target="slides/slide18.xml"/><Relationship Id="rId77" Type="http://schemas.openxmlformats.org/officeDocument/2006/relationships/slide" Target="slides/slide26.xml"/><Relationship Id="rId100" Type="http://schemas.openxmlformats.org/officeDocument/2006/relationships/slide" Target="slides/slide49.xml"/><Relationship Id="rId105" Type="http://schemas.openxmlformats.org/officeDocument/2006/relationships/slide" Target="slides/slide54.xml"/><Relationship Id="rId113" Type="http://schemas.openxmlformats.org/officeDocument/2006/relationships/slide" Target="slides/slide62.xml"/><Relationship Id="rId118" Type="http://schemas.openxmlformats.org/officeDocument/2006/relationships/slide" Target="slides/slide67.xml"/><Relationship Id="rId12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" Target="slides/slide21.xml"/><Relationship Id="rId80" Type="http://schemas.openxmlformats.org/officeDocument/2006/relationships/slide" Target="slides/slide29.xml"/><Relationship Id="rId85" Type="http://schemas.openxmlformats.org/officeDocument/2006/relationships/slide" Target="slides/slide34.xml"/><Relationship Id="rId93" Type="http://schemas.openxmlformats.org/officeDocument/2006/relationships/slide" Target="slides/slide42.xml"/><Relationship Id="rId98" Type="http://schemas.openxmlformats.org/officeDocument/2006/relationships/slide" Target="slides/slide47.xml"/><Relationship Id="rId121" Type="http://schemas.openxmlformats.org/officeDocument/2006/relationships/slide" Target="slides/slide7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8.xml"/><Relationship Id="rId67" Type="http://schemas.openxmlformats.org/officeDocument/2006/relationships/slide" Target="slides/slide16.xml"/><Relationship Id="rId103" Type="http://schemas.openxmlformats.org/officeDocument/2006/relationships/slide" Target="slides/slide52.xml"/><Relationship Id="rId108" Type="http://schemas.openxmlformats.org/officeDocument/2006/relationships/slide" Target="slides/slide57.xml"/><Relationship Id="rId116" Type="http://schemas.openxmlformats.org/officeDocument/2006/relationships/slide" Target="slides/slide65.xml"/><Relationship Id="rId124" Type="http://schemas.openxmlformats.org/officeDocument/2006/relationships/notesMaster" Target="notesMasters/notesMaster1.xml"/><Relationship Id="rId129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3.xml"/><Relationship Id="rId62" Type="http://schemas.openxmlformats.org/officeDocument/2006/relationships/slide" Target="slides/slide11.xml"/><Relationship Id="rId70" Type="http://schemas.openxmlformats.org/officeDocument/2006/relationships/slide" Target="slides/slide19.xml"/><Relationship Id="rId75" Type="http://schemas.openxmlformats.org/officeDocument/2006/relationships/slide" Target="slides/slide24.xml"/><Relationship Id="rId83" Type="http://schemas.openxmlformats.org/officeDocument/2006/relationships/slide" Target="slides/slide32.xml"/><Relationship Id="rId88" Type="http://schemas.openxmlformats.org/officeDocument/2006/relationships/slide" Target="slides/slide37.xml"/><Relationship Id="rId91" Type="http://schemas.openxmlformats.org/officeDocument/2006/relationships/slide" Target="slides/slide40.xml"/><Relationship Id="rId96" Type="http://schemas.openxmlformats.org/officeDocument/2006/relationships/slide" Target="slides/slide45.xml"/><Relationship Id="rId111" Type="http://schemas.openxmlformats.org/officeDocument/2006/relationships/slide" Target="slides/slide6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" Target="slides/slide6.xml"/><Relationship Id="rId106" Type="http://schemas.openxmlformats.org/officeDocument/2006/relationships/slide" Target="slides/slide55.xml"/><Relationship Id="rId114" Type="http://schemas.openxmlformats.org/officeDocument/2006/relationships/slide" Target="slides/slide63.xml"/><Relationship Id="rId119" Type="http://schemas.openxmlformats.org/officeDocument/2006/relationships/slide" Target="slides/slide68.xml"/><Relationship Id="rId127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1.xml"/><Relationship Id="rId60" Type="http://schemas.openxmlformats.org/officeDocument/2006/relationships/slide" Target="slides/slide9.xml"/><Relationship Id="rId65" Type="http://schemas.openxmlformats.org/officeDocument/2006/relationships/slide" Target="slides/slide14.xml"/><Relationship Id="rId73" Type="http://schemas.openxmlformats.org/officeDocument/2006/relationships/slide" Target="slides/slide22.xml"/><Relationship Id="rId78" Type="http://schemas.openxmlformats.org/officeDocument/2006/relationships/slide" Target="slides/slide27.xml"/><Relationship Id="rId81" Type="http://schemas.openxmlformats.org/officeDocument/2006/relationships/slide" Target="slides/slide30.xml"/><Relationship Id="rId86" Type="http://schemas.openxmlformats.org/officeDocument/2006/relationships/slide" Target="slides/slide35.xml"/><Relationship Id="rId94" Type="http://schemas.openxmlformats.org/officeDocument/2006/relationships/slide" Target="slides/slide43.xml"/><Relationship Id="rId99" Type="http://schemas.openxmlformats.org/officeDocument/2006/relationships/slide" Target="slides/slide48.xml"/><Relationship Id="rId101" Type="http://schemas.openxmlformats.org/officeDocument/2006/relationships/slide" Target="slides/slide50.xml"/><Relationship Id="rId122" Type="http://schemas.openxmlformats.org/officeDocument/2006/relationships/slide" Target="slides/slide7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109" Type="http://schemas.openxmlformats.org/officeDocument/2006/relationships/slide" Target="slides/slide58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" Target="slides/slide4.xml"/><Relationship Id="rId76" Type="http://schemas.openxmlformats.org/officeDocument/2006/relationships/slide" Target="slides/slide25.xml"/><Relationship Id="rId97" Type="http://schemas.openxmlformats.org/officeDocument/2006/relationships/slide" Target="slides/slide46.xml"/><Relationship Id="rId104" Type="http://schemas.openxmlformats.org/officeDocument/2006/relationships/slide" Target="slides/slide53.xml"/><Relationship Id="rId120" Type="http://schemas.openxmlformats.org/officeDocument/2006/relationships/slide" Target="slides/slide69.xml"/><Relationship Id="rId125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20.xml"/><Relationship Id="rId92" Type="http://schemas.openxmlformats.org/officeDocument/2006/relationships/slide" Target="slides/slide41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" Target="slides/slide15.xml"/><Relationship Id="rId87" Type="http://schemas.openxmlformats.org/officeDocument/2006/relationships/slide" Target="slides/slide36.xml"/><Relationship Id="rId110" Type="http://schemas.openxmlformats.org/officeDocument/2006/relationships/slide" Target="slides/slide59.xml"/><Relationship Id="rId115" Type="http://schemas.openxmlformats.org/officeDocument/2006/relationships/slide" Target="slides/slide64.xml"/><Relationship Id="rId61" Type="http://schemas.openxmlformats.org/officeDocument/2006/relationships/slide" Target="slides/slide10.xml"/><Relationship Id="rId82" Type="http://schemas.openxmlformats.org/officeDocument/2006/relationships/slide" Target="slides/slide3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#1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06F689-DC19-F040-BEE8-98A2A2D82A91}" type="doc">
      <dgm:prSet loTypeId="urn:microsoft.com/office/officeart/2005/8/layout/arrow2#1" loCatId="" qsTypeId="urn:microsoft.com/office/officeart/2005/8/quickstyle/simple4#1" qsCatId="simple" csTypeId="urn:microsoft.com/office/officeart/2005/8/colors/colorful4#1" csCatId="colorful" phldr="1"/>
      <dgm:spPr/>
    </dgm:pt>
    <dgm:pt modelId="{BB6C2686-32B3-1945-83A3-83FBEFD0F9BB}">
      <dgm:prSet phldrT="[Текст]" custT="1"/>
      <dgm:spPr>
        <a:ln>
          <a:solidFill>
            <a:srgbClr val="FFFFFF"/>
          </a:solidFill>
        </a:ln>
      </dgm:spPr>
      <dgm:t>
        <a:bodyPr/>
        <a:lstStyle/>
        <a:p>
          <a:r>
            <a:rPr lang="ru-RU" sz="1800" dirty="0" smtClean="0"/>
            <a:t>2005: </a:t>
          </a:r>
          <a:r>
            <a:rPr lang="ru-RU" sz="1800" dirty="0" err="1" smtClean="0"/>
            <a:t>Омализумаб</a:t>
          </a:r>
          <a:r>
            <a:rPr lang="ru-RU" sz="1800" dirty="0" smtClean="0"/>
            <a:t> (анти</a:t>
          </a:r>
          <a:r>
            <a:rPr lang="en-US" sz="1800" dirty="0" err="1" smtClean="0"/>
            <a:t>IgE</a:t>
          </a:r>
          <a:r>
            <a:rPr lang="en-US" sz="1800" dirty="0" smtClean="0"/>
            <a:t>) </a:t>
          </a:r>
          <a:r>
            <a:rPr lang="ru-RU" sz="1800" dirty="0" smtClean="0"/>
            <a:t>для аллергической БА </a:t>
          </a:r>
          <a:endParaRPr lang="ru-RU" sz="1800" dirty="0"/>
        </a:p>
      </dgm:t>
    </dgm:pt>
    <dgm:pt modelId="{C98010E6-7C21-434C-90C4-075A59362CBE}" type="parTrans" cxnId="{BA9DEF68-9DE0-1C4E-A2D8-F8D42C7E81E7}">
      <dgm:prSet/>
      <dgm:spPr/>
      <dgm:t>
        <a:bodyPr/>
        <a:lstStyle/>
        <a:p>
          <a:endParaRPr lang="ru-RU" sz="3600"/>
        </a:p>
      </dgm:t>
    </dgm:pt>
    <dgm:pt modelId="{44516D49-2096-5947-8C18-BEC0DFEE8304}" type="sibTrans" cxnId="{BA9DEF68-9DE0-1C4E-A2D8-F8D42C7E81E7}">
      <dgm:prSet/>
      <dgm:spPr/>
      <dgm:t>
        <a:bodyPr/>
        <a:lstStyle/>
        <a:p>
          <a:endParaRPr lang="ru-RU" sz="3600"/>
        </a:p>
      </dgm:t>
    </dgm:pt>
    <dgm:pt modelId="{728E112A-A528-C448-BCEE-B9C911378AEF}">
      <dgm:prSet phldrT="[Текст]" custT="1"/>
      <dgm:spPr>
        <a:ln>
          <a:noFill/>
        </a:ln>
      </dgm:spPr>
      <dgm:t>
        <a:bodyPr/>
        <a:lstStyle/>
        <a:p>
          <a:r>
            <a:rPr lang="ru-RU" sz="1800" dirty="0" smtClean="0"/>
            <a:t>2015: </a:t>
          </a:r>
          <a:r>
            <a:rPr lang="ru-RU" sz="1800" dirty="0" err="1" smtClean="0"/>
            <a:t>Меполизумаб</a:t>
          </a:r>
          <a:r>
            <a:rPr lang="ru-RU" sz="1800" dirty="0" smtClean="0"/>
            <a:t> (анти</a:t>
          </a:r>
          <a:r>
            <a:rPr lang="en-US" sz="1800" dirty="0" smtClean="0"/>
            <a:t>Il5) </a:t>
          </a:r>
          <a:r>
            <a:rPr lang="ru-RU" sz="1800" dirty="0" smtClean="0"/>
            <a:t>для эозинофильной астмы</a:t>
          </a:r>
          <a:endParaRPr lang="ru-RU" sz="1800" dirty="0"/>
        </a:p>
      </dgm:t>
    </dgm:pt>
    <dgm:pt modelId="{0580D2EB-DD1C-2B42-9D02-893BBD71994D}" type="parTrans" cxnId="{3E785D6E-07E5-3C44-9CB5-548E49F56D7F}">
      <dgm:prSet/>
      <dgm:spPr/>
      <dgm:t>
        <a:bodyPr/>
        <a:lstStyle/>
        <a:p>
          <a:endParaRPr lang="ru-RU" sz="3600"/>
        </a:p>
      </dgm:t>
    </dgm:pt>
    <dgm:pt modelId="{954F4156-6EBA-D442-B513-C4A0675812FC}" type="sibTrans" cxnId="{3E785D6E-07E5-3C44-9CB5-548E49F56D7F}">
      <dgm:prSet/>
      <dgm:spPr/>
      <dgm:t>
        <a:bodyPr/>
        <a:lstStyle/>
        <a:p>
          <a:endParaRPr lang="ru-RU" sz="3600"/>
        </a:p>
      </dgm:t>
    </dgm:pt>
    <dgm:pt modelId="{D39EB643-E9FF-E640-A575-D8289DE7E4D2}">
      <dgm:prSet phldrT="[Текст]" custT="1"/>
      <dgm:spPr/>
      <dgm:t>
        <a:bodyPr/>
        <a:lstStyle/>
        <a:p>
          <a:r>
            <a:rPr lang="ru-RU" sz="1800" dirty="0" smtClean="0"/>
            <a:t>2016: </a:t>
          </a:r>
          <a:r>
            <a:rPr lang="ru-RU" sz="1800" dirty="0" err="1" smtClean="0"/>
            <a:t>Реслизумаб</a:t>
          </a:r>
          <a:r>
            <a:rPr lang="ru-RU" sz="1800" dirty="0" smtClean="0"/>
            <a:t> (анти</a:t>
          </a:r>
          <a:r>
            <a:rPr lang="en-US" sz="1800" dirty="0" smtClean="0"/>
            <a:t>Il5) </a:t>
          </a:r>
          <a:r>
            <a:rPr lang="ru-RU" sz="1800" dirty="0" smtClean="0"/>
            <a:t>для эозинофильной астмы</a:t>
          </a:r>
          <a:endParaRPr lang="ru-RU" sz="1800" dirty="0"/>
        </a:p>
      </dgm:t>
    </dgm:pt>
    <dgm:pt modelId="{3DA80DCD-7B8D-B443-8DA9-5CF029119241}" type="parTrans" cxnId="{F09AD332-FB6A-864F-A5AE-3655CA3A760A}">
      <dgm:prSet/>
      <dgm:spPr/>
      <dgm:t>
        <a:bodyPr/>
        <a:lstStyle/>
        <a:p>
          <a:endParaRPr lang="ru-RU" sz="3600"/>
        </a:p>
      </dgm:t>
    </dgm:pt>
    <dgm:pt modelId="{8688E6BB-3EE8-894B-9FBF-1774EA6DD2B1}" type="sibTrans" cxnId="{F09AD332-FB6A-864F-A5AE-3655CA3A760A}">
      <dgm:prSet/>
      <dgm:spPr/>
      <dgm:t>
        <a:bodyPr/>
        <a:lstStyle/>
        <a:p>
          <a:endParaRPr lang="ru-RU" sz="3600"/>
        </a:p>
      </dgm:t>
    </dgm:pt>
    <dgm:pt modelId="{454FF7E4-0EFB-C640-977F-DEE6F42A1D38}">
      <dgm:prSet phldrT="[Текст]" custT="1"/>
      <dgm:spPr/>
      <dgm:t>
        <a:bodyPr/>
        <a:lstStyle/>
        <a:p>
          <a:r>
            <a:rPr lang="ru-RU" sz="1800" dirty="0" smtClean="0"/>
            <a:t>2018: </a:t>
          </a:r>
          <a:r>
            <a:rPr lang="ru-RU" sz="1800" dirty="0" err="1" smtClean="0"/>
            <a:t>Бенрализумаб</a:t>
          </a:r>
          <a:r>
            <a:rPr lang="ru-RU" sz="1800" dirty="0" smtClean="0"/>
            <a:t> (анти</a:t>
          </a:r>
          <a:r>
            <a:rPr lang="en-US" sz="1800" dirty="0" smtClean="0"/>
            <a:t>Il5Rα) </a:t>
          </a:r>
          <a:r>
            <a:rPr lang="ru-RU" sz="1800" dirty="0" smtClean="0"/>
            <a:t>для эозинофильной астмы </a:t>
          </a:r>
          <a:endParaRPr lang="ru-RU" sz="1800" dirty="0"/>
        </a:p>
      </dgm:t>
    </dgm:pt>
    <dgm:pt modelId="{4E4C0C5C-E1FC-8F42-BE1C-4EE9D3DAE566}" type="parTrans" cxnId="{FDD1DF55-9BA0-B444-BA1B-1FE9DD7959A4}">
      <dgm:prSet/>
      <dgm:spPr/>
      <dgm:t>
        <a:bodyPr/>
        <a:lstStyle/>
        <a:p>
          <a:endParaRPr lang="ru-RU" sz="3600"/>
        </a:p>
      </dgm:t>
    </dgm:pt>
    <dgm:pt modelId="{8D2C8A04-2516-A244-8FA0-31AE21C62C2A}" type="sibTrans" cxnId="{FDD1DF55-9BA0-B444-BA1B-1FE9DD7959A4}">
      <dgm:prSet/>
      <dgm:spPr/>
      <dgm:t>
        <a:bodyPr/>
        <a:lstStyle/>
        <a:p>
          <a:endParaRPr lang="ru-RU" sz="3600"/>
        </a:p>
      </dgm:t>
    </dgm:pt>
    <dgm:pt modelId="{9A16D90D-BBB7-5943-86CE-33A2A49CC460}">
      <dgm:prSet phldrT="[Текст]" custT="1"/>
      <dgm:spPr/>
      <dgm:t>
        <a:bodyPr/>
        <a:lstStyle/>
        <a:p>
          <a:r>
            <a:rPr lang="en-US" sz="1800" dirty="0" smtClean="0"/>
            <a:t>2019</a:t>
          </a:r>
          <a:r>
            <a:rPr lang="ru-RU" sz="1800" dirty="0" smtClean="0"/>
            <a:t>: </a:t>
          </a:r>
          <a:r>
            <a:rPr lang="ru-RU" sz="1800" dirty="0" err="1" smtClean="0"/>
            <a:t>Дупилумаб</a:t>
          </a:r>
          <a:r>
            <a:rPr lang="ru-RU" sz="1800" dirty="0" smtClean="0"/>
            <a:t> (анти</a:t>
          </a:r>
          <a:r>
            <a:rPr lang="en-US" sz="1800" dirty="0" smtClean="0"/>
            <a:t>Il</a:t>
          </a:r>
          <a:r>
            <a:rPr lang="ru-RU" sz="1800" dirty="0" smtClean="0"/>
            <a:t>4</a:t>
          </a:r>
          <a:r>
            <a:rPr lang="en-US" sz="1800" dirty="0" smtClean="0"/>
            <a:t>Rα) </a:t>
          </a:r>
          <a:r>
            <a:rPr lang="ru-RU" sz="1800" dirty="0" smtClean="0"/>
            <a:t>для </a:t>
          </a:r>
          <a:r>
            <a:rPr lang="en-US" sz="1800" dirty="0" smtClean="0"/>
            <a:t>Th2-</a:t>
          </a:r>
          <a:r>
            <a:rPr lang="ru-RU" sz="1800" dirty="0" smtClean="0"/>
            <a:t>воспаления</a:t>
          </a:r>
          <a:endParaRPr lang="ru-RU" sz="1800" dirty="0"/>
        </a:p>
      </dgm:t>
    </dgm:pt>
    <dgm:pt modelId="{66C171B5-33E2-3F4E-AF45-787FFBACF511}" type="parTrans" cxnId="{FB9A4276-366D-014C-8C38-4730F00C11C7}">
      <dgm:prSet/>
      <dgm:spPr/>
      <dgm:t>
        <a:bodyPr/>
        <a:lstStyle/>
        <a:p>
          <a:endParaRPr lang="ru-RU" sz="3600"/>
        </a:p>
      </dgm:t>
    </dgm:pt>
    <dgm:pt modelId="{A0C4256E-D907-6348-A71B-0EB43F93DF46}" type="sibTrans" cxnId="{FB9A4276-366D-014C-8C38-4730F00C11C7}">
      <dgm:prSet/>
      <dgm:spPr/>
      <dgm:t>
        <a:bodyPr/>
        <a:lstStyle/>
        <a:p>
          <a:endParaRPr lang="ru-RU" sz="3600"/>
        </a:p>
      </dgm:t>
    </dgm:pt>
    <dgm:pt modelId="{29EF5CFC-E397-9144-827C-C3B77CA8CB39}" type="pres">
      <dgm:prSet presAssocID="{FB06F689-DC19-F040-BEE8-98A2A2D82A91}" presName="arrowDiagram" presStyleCnt="0">
        <dgm:presLayoutVars>
          <dgm:chMax val="5"/>
          <dgm:dir/>
          <dgm:resizeHandles val="exact"/>
        </dgm:presLayoutVars>
      </dgm:prSet>
      <dgm:spPr/>
    </dgm:pt>
    <dgm:pt modelId="{17CAF009-4007-C347-B84B-A5D402303ECE}" type="pres">
      <dgm:prSet presAssocID="{FB06F689-DC19-F040-BEE8-98A2A2D82A91}" presName="arrow" presStyleLbl="bgShp" presStyleIdx="0" presStyleCnt="1"/>
      <dgm:spPr/>
    </dgm:pt>
    <dgm:pt modelId="{AC4B2DAA-EB93-4241-9D20-AB628AC16532}" type="pres">
      <dgm:prSet presAssocID="{FB06F689-DC19-F040-BEE8-98A2A2D82A91}" presName="arrowDiagram5" presStyleCnt="0"/>
      <dgm:spPr/>
    </dgm:pt>
    <dgm:pt modelId="{7724BB6C-18AD-2D47-BFD9-48C28F028D16}" type="pres">
      <dgm:prSet presAssocID="{BB6C2686-32B3-1945-83A3-83FBEFD0F9BB}" presName="bullet5a" presStyleLbl="node1" presStyleIdx="0" presStyleCnt="5"/>
      <dgm:spPr/>
    </dgm:pt>
    <dgm:pt modelId="{9DA85936-F56F-1148-A193-9AC7FCA6A842}" type="pres">
      <dgm:prSet presAssocID="{BB6C2686-32B3-1945-83A3-83FBEFD0F9BB}" presName="textBox5a" presStyleLbl="revTx" presStyleIdx="0" presStyleCnt="5" custScaleX="191180" custScaleY="68644" custLinFactNeighborX="-21395" custLinFactNeighborY="153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214075-8230-FD44-8FEA-5EBCFC16E342}" type="pres">
      <dgm:prSet presAssocID="{728E112A-A528-C448-BCEE-B9C911378AEF}" presName="bullet5b" presStyleLbl="node1" presStyleIdx="1" presStyleCnt="5"/>
      <dgm:spPr/>
    </dgm:pt>
    <dgm:pt modelId="{2616400D-C4C8-D64C-82A9-186C1FB8653D}" type="pres">
      <dgm:prSet presAssocID="{728E112A-A528-C448-BCEE-B9C911378AEF}" presName="textBox5b" presStyleLbl="revTx" presStyleIdx="1" presStyleCnt="5" custScaleX="154457" custScaleY="56157" custLinFactNeighborX="13501" custLinFactNeighborY="-153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74B5952-6657-264F-B6B4-F8C7B3B7E53A}" type="pres">
      <dgm:prSet presAssocID="{D39EB643-E9FF-E640-A575-D8289DE7E4D2}" presName="bullet5c" presStyleLbl="node1" presStyleIdx="2" presStyleCnt="5"/>
      <dgm:spPr/>
    </dgm:pt>
    <dgm:pt modelId="{AD9726A3-3C4D-0E4C-B875-BFEDDAE08552}" type="pres">
      <dgm:prSet presAssocID="{D39EB643-E9FF-E640-A575-D8289DE7E4D2}" presName="textBox5c" presStyleLbl="revTx" presStyleIdx="2" presStyleCnt="5" custScaleX="148690" custScaleY="31666" custLinFactNeighborX="23175" custLinFactNeighborY="-284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F508E9-A880-264D-B56D-BB2225B8FD84}" type="pres">
      <dgm:prSet presAssocID="{454FF7E4-0EFB-C640-977F-DEE6F42A1D38}" presName="bullet5d" presStyleLbl="node1" presStyleIdx="3" presStyleCnt="5"/>
      <dgm:spPr/>
    </dgm:pt>
    <dgm:pt modelId="{555069AA-0FFD-7B44-999C-987724B5E1AF}" type="pres">
      <dgm:prSet presAssocID="{454FF7E4-0EFB-C640-977F-DEE6F42A1D38}" presName="textBox5d" presStyleLbl="revTx" presStyleIdx="3" presStyleCnt="5" custScaleX="162689" custScaleY="35851" custLinFactNeighborX="42231" custLinFactNeighborY="-307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0FCA07-B0CE-D247-B042-3295C154B8CF}" type="pres">
      <dgm:prSet presAssocID="{9A16D90D-BBB7-5943-86CE-33A2A49CC460}" presName="bullet5e" presStyleLbl="node1" presStyleIdx="4" presStyleCnt="5"/>
      <dgm:spPr/>
    </dgm:pt>
    <dgm:pt modelId="{20F25669-F903-1F4D-A09F-8C89AB0D86D0}" type="pres">
      <dgm:prSet presAssocID="{9A16D90D-BBB7-5943-86CE-33A2A49CC460}" presName="textBox5e" presStyleLbl="revTx" presStyleIdx="4" presStyleCnt="5" custScaleX="137315" custScaleY="39850" custLinFactNeighborX="13080" custLinFactNeighborY="-5533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09AD332-FB6A-864F-A5AE-3655CA3A760A}" srcId="{FB06F689-DC19-F040-BEE8-98A2A2D82A91}" destId="{D39EB643-E9FF-E640-A575-D8289DE7E4D2}" srcOrd="2" destOrd="0" parTransId="{3DA80DCD-7B8D-B443-8DA9-5CF029119241}" sibTransId="{8688E6BB-3EE8-894B-9FBF-1774EA6DD2B1}"/>
    <dgm:cxn modelId="{B5967054-DD04-44F4-AAE7-DAC4EE52925F}" type="presOf" srcId="{728E112A-A528-C448-BCEE-B9C911378AEF}" destId="{2616400D-C4C8-D64C-82A9-186C1FB8653D}" srcOrd="0" destOrd="0" presId="urn:microsoft.com/office/officeart/2005/8/layout/arrow2#1"/>
    <dgm:cxn modelId="{B2A71BFD-F558-4A2A-812D-6893CD03376B}" type="presOf" srcId="{454FF7E4-0EFB-C640-977F-DEE6F42A1D38}" destId="{555069AA-0FFD-7B44-999C-987724B5E1AF}" srcOrd="0" destOrd="0" presId="urn:microsoft.com/office/officeart/2005/8/layout/arrow2#1"/>
    <dgm:cxn modelId="{E42811F0-1233-415D-9729-E049D7D95285}" type="presOf" srcId="{9A16D90D-BBB7-5943-86CE-33A2A49CC460}" destId="{20F25669-F903-1F4D-A09F-8C89AB0D86D0}" srcOrd="0" destOrd="0" presId="urn:microsoft.com/office/officeart/2005/8/layout/arrow2#1"/>
    <dgm:cxn modelId="{BA9DEF68-9DE0-1C4E-A2D8-F8D42C7E81E7}" srcId="{FB06F689-DC19-F040-BEE8-98A2A2D82A91}" destId="{BB6C2686-32B3-1945-83A3-83FBEFD0F9BB}" srcOrd="0" destOrd="0" parTransId="{C98010E6-7C21-434C-90C4-075A59362CBE}" sibTransId="{44516D49-2096-5947-8C18-BEC0DFEE8304}"/>
    <dgm:cxn modelId="{FB9A4276-366D-014C-8C38-4730F00C11C7}" srcId="{FB06F689-DC19-F040-BEE8-98A2A2D82A91}" destId="{9A16D90D-BBB7-5943-86CE-33A2A49CC460}" srcOrd="4" destOrd="0" parTransId="{66C171B5-33E2-3F4E-AF45-787FFBACF511}" sibTransId="{A0C4256E-D907-6348-A71B-0EB43F93DF46}"/>
    <dgm:cxn modelId="{5B8C34F9-9377-4C74-9BF4-44BDA978F49E}" type="presOf" srcId="{BB6C2686-32B3-1945-83A3-83FBEFD0F9BB}" destId="{9DA85936-F56F-1148-A193-9AC7FCA6A842}" srcOrd="0" destOrd="0" presId="urn:microsoft.com/office/officeart/2005/8/layout/arrow2#1"/>
    <dgm:cxn modelId="{C0581437-DB4F-44D2-B271-E609550D952D}" type="presOf" srcId="{FB06F689-DC19-F040-BEE8-98A2A2D82A91}" destId="{29EF5CFC-E397-9144-827C-C3B77CA8CB39}" srcOrd="0" destOrd="0" presId="urn:microsoft.com/office/officeart/2005/8/layout/arrow2#1"/>
    <dgm:cxn modelId="{3051D22C-7EE3-4D68-836C-6EAF0C69E100}" type="presOf" srcId="{D39EB643-E9FF-E640-A575-D8289DE7E4D2}" destId="{AD9726A3-3C4D-0E4C-B875-BFEDDAE08552}" srcOrd="0" destOrd="0" presId="urn:microsoft.com/office/officeart/2005/8/layout/arrow2#1"/>
    <dgm:cxn modelId="{3E785D6E-07E5-3C44-9CB5-548E49F56D7F}" srcId="{FB06F689-DC19-F040-BEE8-98A2A2D82A91}" destId="{728E112A-A528-C448-BCEE-B9C911378AEF}" srcOrd="1" destOrd="0" parTransId="{0580D2EB-DD1C-2B42-9D02-893BBD71994D}" sibTransId="{954F4156-6EBA-D442-B513-C4A0675812FC}"/>
    <dgm:cxn modelId="{FDD1DF55-9BA0-B444-BA1B-1FE9DD7959A4}" srcId="{FB06F689-DC19-F040-BEE8-98A2A2D82A91}" destId="{454FF7E4-0EFB-C640-977F-DEE6F42A1D38}" srcOrd="3" destOrd="0" parTransId="{4E4C0C5C-E1FC-8F42-BE1C-4EE9D3DAE566}" sibTransId="{8D2C8A04-2516-A244-8FA0-31AE21C62C2A}"/>
    <dgm:cxn modelId="{6ABA89CF-4D10-430B-9854-8A7C73511106}" type="presParOf" srcId="{29EF5CFC-E397-9144-827C-C3B77CA8CB39}" destId="{17CAF009-4007-C347-B84B-A5D402303ECE}" srcOrd="0" destOrd="0" presId="urn:microsoft.com/office/officeart/2005/8/layout/arrow2#1"/>
    <dgm:cxn modelId="{5D8BA5C0-F91C-412F-9F6D-B62811A494E2}" type="presParOf" srcId="{29EF5CFC-E397-9144-827C-C3B77CA8CB39}" destId="{AC4B2DAA-EB93-4241-9D20-AB628AC16532}" srcOrd="1" destOrd="0" presId="urn:microsoft.com/office/officeart/2005/8/layout/arrow2#1"/>
    <dgm:cxn modelId="{FB8224F8-3CE9-4690-B09A-5F42F59BE324}" type="presParOf" srcId="{AC4B2DAA-EB93-4241-9D20-AB628AC16532}" destId="{7724BB6C-18AD-2D47-BFD9-48C28F028D16}" srcOrd="0" destOrd="0" presId="urn:microsoft.com/office/officeart/2005/8/layout/arrow2#1"/>
    <dgm:cxn modelId="{950B938C-F10B-4BF5-9D66-1E58D0F4D40E}" type="presParOf" srcId="{AC4B2DAA-EB93-4241-9D20-AB628AC16532}" destId="{9DA85936-F56F-1148-A193-9AC7FCA6A842}" srcOrd="1" destOrd="0" presId="urn:microsoft.com/office/officeart/2005/8/layout/arrow2#1"/>
    <dgm:cxn modelId="{290AC699-2C6D-458A-A193-1DA47C0C5D50}" type="presParOf" srcId="{AC4B2DAA-EB93-4241-9D20-AB628AC16532}" destId="{35214075-8230-FD44-8FEA-5EBCFC16E342}" srcOrd="2" destOrd="0" presId="urn:microsoft.com/office/officeart/2005/8/layout/arrow2#1"/>
    <dgm:cxn modelId="{408E03CF-9C7D-48CC-A12B-67DCD40DCBC4}" type="presParOf" srcId="{AC4B2DAA-EB93-4241-9D20-AB628AC16532}" destId="{2616400D-C4C8-D64C-82A9-186C1FB8653D}" srcOrd="3" destOrd="0" presId="urn:microsoft.com/office/officeart/2005/8/layout/arrow2#1"/>
    <dgm:cxn modelId="{ADAE5891-5670-4751-9EA1-9C2A9DF5981C}" type="presParOf" srcId="{AC4B2DAA-EB93-4241-9D20-AB628AC16532}" destId="{874B5952-6657-264F-B6B4-F8C7B3B7E53A}" srcOrd="4" destOrd="0" presId="urn:microsoft.com/office/officeart/2005/8/layout/arrow2#1"/>
    <dgm:cxn modelId="{A950A512-17EC-4AC2-AAE7-6F72276BC976}" type="presParOf" srcId="{AC4B2DAA-EB93-4241-9D20-AB628AC16532}" destId="{AD9726A3-3C4D-0E4C-B875-BFEDDAE08552}" srcOrd="5" destOrd="0" presId="urn:microsoft.com/office/officeart/2005/8/layout/arrow2#1"/>
    <dgm:cxn modelId="{0710B73B-4BFC-4C88-ABC0-FC8DA57C3D2D}" type="presParOf" srcId="{AC4B2DAA-EB93-4241-9D20-AB628AC16532}" destId="{3EF508E9-A880-264D-B56D-BB2225B8FD84}" srcOrd="6" destOrd="0" presId="urn:microsoft.com/office/officeart/2005/8/layout/arrow2#1"/>
    <dgm:cxn modelId="{44578066-9859-464C-99EE-258A6CE4D70E}" type="presParOf" srcId="{AC4B2DAA-EB93-4241-9D20-AB628AC16532}" destId="{555069AA-0FFD-7B44-999C-987724B5E1AF}" srcOrd="7" destOrd="0" presId="urn:microsoft.com/office/officeart/2005/8/layout/arrow2#1"/>
    <dgm:cxn modelId="{4B31E04B-1ABB-4B33-87EF-C34FA44178F8}" type="presParOf" srcId="{AC4B2DAA-EB93-4241-9D20-AB628AC16532}" destId="{E00FCA07-B0CE-D247-B042-3295C154B8CF}" srcOrd="8" destOrd="0" presId="urn:microsoft.com/office/officeart/2005/8/layout/arrow2#1"/>
    <dgm:cxn modelId="{E3F2A59E-D15C-4F87-9045-3A17D9811C98}" type="presParOf" srcId="{AC4B2DAA-EB93-4241-9D20-AB628AC16532}" destId="{20F25669-F903-1F4D-A09F-8C89AB0D86D0}" srcOrd="9" destOrd="0" presId="urn:microsoft.com/office/officeart/2005/8/layout/arrow2#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#1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parTxLTRAlign" val="r"/>
                    <dgm:param type="parTxRTLAlign" val="r"/>
                    <dgm:param type="txAnchorVert" val="t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2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3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4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4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5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6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7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7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8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9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0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0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1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1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2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3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4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4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6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70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74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83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87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96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200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A49E99-CBC2-4778-9526-5CE09F104C7B}" type="datetimeFigureOut">
              <a:rPr lang="ru-RU" smtClean="0"/>
              <a:t>16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98D35B-F8FD-4A9B-9C8C-938AC270FB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17362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8A385B-D4E3-4949-9829-E67E50C44BAF}" type="datetimeFigureOut">
              <a:rPr lang="ru-RU" smtClean="0"/>
              <a:t>16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A8F0AB-AE87-4925-B45D-4E47E93E989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280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44563" y="746125"/>
            <a:ext cx="4972050" cy="3729038"/>
          </a:xfrm>
          <a:ln/>
        </p:spPr>
      </p:sp>
      <p:sp>
        <p:nvSpPr>
          <p:cNvPr id="75779" name="Заметки 2"/>
          <p:cNvSpPr>
            <a:spLocks noGrp="1"/>
          </p:cNvSpPr>
          <p:nvPr>
            <p:ph type="body" idx="1"/>
          </p:nvPr>
        </p:nvSpPr>
        <p:spPr>
          <a:xfrm>
            <a:off x="916109" y="4724517"/>
            <a:ext cx="5025783" cy="447619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479" tIns="44740" rIns="89479" bIns="44740"/>
          <a:lstStyle/>
          <a:p>
            <a:r>
              <a:rPr lang="ru-RU" dirty="0" smtClean="0"/>
              <a:t>Ежегодно только в нашей стране регистрируется 120 тыс. новых случаев заболевания БА (из доклада А.Г.Чучалина на ЧиЛ, 2010)</a:t>
            </a:r>
          </a:p>
        </p:txBody>
      </p:sp>
      <p:sp>
        <p:nvSpPr>
          <p:cNvPr id="75780" name="Дата 3"/>
          <p:cNvSpPr txBox="1">
            <a:spLocks noGrp="1"/>
          </p:cNvSpPr>
          <p:nvPr/>
        </p:nvSpPr>
        <p:spPr bwMode="auto">
          <a:xfrm>
            <a:off x="3885454" y="1"/>
            <a:ext cx="2972547" cy="496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479" tIns="44740" rIns="89479" bIns="44740"/>
          <a:lstStyle>
            <a:lvl1pPr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1pPr>
            <a:lvl2pPr marL="738188" indent="-28416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2pPr>
            <a:lvl3pPr marL="1135063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3pPr>
            <a:lvl4pPr marL="1589088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4pPr>
            <a:lvl5pPr marL="2041525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5pPr>
            <a:lvl6pPr marL="24987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6pPr>
            <a:lvl7pPr marL="29559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7pPr>
            <a:lvl8pPr marL="34131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8pPr>
            <a:lvl9pPr marL="38703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</a:pPr>
            <a:fld id="{78E60601-786F-452B-BFC4-73B247A6DB54}" type="datetime8">
              <a:rPr lang="en-GB" sz="1200">
                <a:solidFill>
                  <a:prstClr val="black"/>
                </a:solidFill>
              </a:rPr>
              <a:pPr algn="r">
                <a:spcBef>
                  <a:spcPct val="0"/>
                </a:spcBef>
              </a:pPr>
              <a:t>16/03/2020 13:56</a:t>
            </a:fld>
            <a:endParaRPr lang="en-GB" sz="1200">
              <a:solidFill>
                <a:prstClr val="black"/>
              </a:solidFill>
            </a:endParaRPr>
          </a:p>
        </p:txBody>
      </p:sp>
      <p:sp>
        <p:nvSpPr>
          <p:cNvPr id="75781" name="Номер слайда 4"/>
          <p:cNvSpPr txBox="1">
            <a:spLocks noGrp="1"/>
          </p:cNvSpPr>
          <p:nvPr/>
        </p:nvSpPr>
        <p:spPr bwMode="auto">
          <a:xfrm>
            <a:off x="3885454" y="9450634"/>
            <a:ext cx="2972547" cy="496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479" tIns="44740" rIns="89479" bIns="44740" anchor="b"/>
          <a:lstStyle>
            <a:lvl1pPr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1pPr>
            <a:lvl2pPr marL="738188" indent="-28416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2pPr>
            <a:lvl3pPr marL="1135063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3pPr>
            <a:lvl4pPr marL="1589088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4pPr>
            <a:lvl5pPr marL="2041525" indent="-227013" defTabSz="895350" eaLnBrk="0" hangingPunct="0">
              <a:defRPr sz="2800">
                <a:solidFill>
                  <a:schemeClr val="accent1"/>
                </a:solidFill>
                <a:latin typeface="Arial" charset="0"/>
              </a:defRPr>
            </a:lvl5pPr>
            <a:lvl6pPr marL="24987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6pPr>
            <a:lvl7pPr marL="29559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7pPr>
            <a:lvl8pPr marL="34131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8pPr>
            <a:lvl9pPr marL="3870325" indent="-227013" defTabSz="8953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l"/>
              <a:defRPr sz="2800">
                <a:solidFill>
                  <a:schemeClr val="accent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</a:pPr>
            <a:fld id="{A256F912-4F66-4CAF-A2EA-27BBBC290205}" type="slidenum">
              <a:rPr lang="en-GB" sz="1200">
                <a:solidFill>
                  <a:prstClr val="black"/>
                </a:solidFill>
              </a:rPr>
              <a:pPr algn="r">
                <a:spcBef>
                  <a:spcPct val="0"/>
                </a:spcBef>
              </a:pPr>
              <a:t>3</a:t>
            </a:fld>
            <a:endParaRPr lang="en-GB" sz="120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нятие «Фенотип»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87303-CDD9-4C72-8AA1-DFB1CA2E07D3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3748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E242F7A4-10D7-4401-8BEF-82443382C1F1}" type="slidenum">
              <a:rPr lang="ru-RU" altLang="ru-RU" sz="1200" smtClean="0">
                <a:solidFill>
                  <a:srgbClr val="000000"/>
                </a:solidFill>
                <a:cs typeface="Arial" panose="020B0604020202020204" pitchFamily="34" charset="0"/>
              </a:rPr>
              <a:pPr/>
              <a:t>29</a:t>
            </a:fld>
            <a:endParaRPr lang="ru-RU" altLang="ru-RU" sz="120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2663" y="769938"/>
            <a:ext cx="4935537" cy="3700462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1389" y="4700779"/>
            <a:ext cx="5019675" cy="447282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ru-RU" altLang="ru-RU" sz="900" b="1" smtClean="0"/>
              <a:t>Именно наличие или отсутствие контроля астмы будет определять действия врача на визите и необходимость в изменении терапии. Поэтому для подбора адекватной терапии чрезвычайно важно правильно оценить уровень контроля над БА.</a:t>
            </a:r>
          </a:p>
          <a:p>
            <a:pPr eaLnBrk="1" hangingPunct="1">
              <a:lnSpc>
                <a:spcPct val="80000"/>
              </a:lnSpc>
            </a:pPr>
            <a:r>
              <a:rPr lang="ru-RU" altLang="ru-RU" sz="900" b="1" smtClean="0"/>
              <a:t>Простым инструментом для контроля БА, рекомендованным к применению Российским респираторным обществом, является Тест по контролю над астмой - АСТ.</a:t>
            </a:r>
          </a:p>
        </p:txBody>
      </p:sp>
    </p:spTree>
    <p:extLst>
      <p:ext uri="{BB962C8B-B14F-4D97-AF65-F5344CB8AC3E}">
        <p14:creationId xmlns:p14="http://schemas.microsoft.com/office/powerpoint/2010/main" val="12589593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5" name="Slide Image Placeholder 1"/>
          <p:cNvSpPr>
            <a:spLocks noGrp="1" noRot="1" noChangeAspect="1" noChangeArrowheads="1"/>
          </p:cNvSpPr>
          <p:nvPr>
            <p:ph type="sldImg" idx="4294967295"/>
          </p:nvPr>
        </p:nvSpPr>
        <p:spPr>
          <a:xfrm>
            <a:off x="1216025" y="498475"/>
            <a:ext cx="4521200" cy="3392488"/>
          </a:xfrm>
          <a:ln>
            <a:miter lim="800000"/>
          </a:ln>
        </p:spPr>
      </p:sp>
      <p:sp>
        <p:nvSpPr>
          <p:cNvPr id="5" name="TextBox 4"/>
          <p:cNvSpPr txBox="1"/>
          <p:nvPr/>
        </p:nvSpPr>
        <p:spPr>
          <a:xfrm>
            <a:off x="1" y="2440191"/>
            <a:ext cx="695325" cy="4165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92528" tIns="46264" rIns="92528" bIns="46264">
            <a:spAutoFit/>
          </a:bodyPr>
          <a:lstStyle/>
          <a:p>
            <a:pPr defTabSz="925195">
              <a:defRPr/>
            </a:pPr>
            <a:r>
              <a:rPr lang="en-US" sz="700" dirty="0">
                <a:solidFill>
                  <a:prstClr val="black"/>
                </a:solidFill>
              </a:rPr>
              <a:t>GINA Pocket Guide 2019/ pdf p20/Box7</a:t>
            </a:r>
          </a:p>
        </p:txBody>
      </p:sp>
      <p:sp>
        <p:nvSpPr>
          <p:cNvPr id="6" name="Slide Number Placeholder 3"/>
          <p:cNvSpPr txBox="1"/>
          <p:nvPr/>
        </p:nvSpPr>
        <p:spPr>
          <a:xfrm>
            <a:off x="3938589" y="9546621"/>
            <a:ext cx="3013075" cy="504272"/>
          </a:xfrm>
          <a:prstGeom prst="rect">
            <a:avLst/>
          </a:prstGeom>
        </p:spPr>
        <p:txBody>
          <a:bodyPr lIns="92528" tIns="46264" rIns="92528" bIns="46264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62C18051-6160-42CE-BEA4-96FEB470A9DB}" type="slidenum">
              <a:rPr lang="en-GB" altLang="ru-RU" sz="1200" smtClean="0">
                <a:solidFill>
                  <a:srgbClr val="000000"/>
                </a:solidFill>
                <a:latin typeface="Calibri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GB" altLang="ru-RU" sz="120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5588" name="Notes Placeholder 9"/>
          <p:cNvSpPr>
            <a:spLocks noGrp="1" noChangeArrowheads="1"/>
          </p:cNvSpPr>
          <p:nvPr>
            <p:ph type="body" sz="quarter" idx="4294967295"/>
          </p:nvPr>
        </p:nvSpPr>
        <p:spPr/>
        <p:txBody>
          <a:bodyPr/>
          <a:lstStyle/>
          <a:p>
            <a:endParaRPr lang="en-US" alt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Slide Image Placeholder 1"/>
          <p:cNvSpPr>
            <a:spLocks noGrp="1" noRot="1" noChangeAspect="1" noChangeArrowheads="1"/>
          </p:cNvSpPr>
          <p:nvPr>
            <p:ph type="sldImg" idx="4294967295"/>
          </p:nvPr>
        </p:nvSpPr>
        <p:spPr>
          <a:xfrm>
            <a:off x="1216025" y="498475"/>
            <a:ext cx="4521200" cy="3392488"/>
          </a:xfrm>
          <a:ln>
            <a:miter lim="800000"/>
          </a:ln>
        </p:spPr>
      </p:sp>
      <p:sp>
        <p:nvSpPr>
          <p:cNvPr id="5" name="TextBox 4"/>
          <p:cNvSpPr txBox="1"/>
          <p:nvPr/>
        </p:nvSpPr>
        <p:spPr>
          <a:xfrm>
            <a:off x="1" y="2440191"/>
            <a:ext cx="695325" cy="4165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92528" tIns="46264" rIns="92528" bIns="46264">
            <a:spAutoFit/>
          </a:bodyPr>
          <a:lstStyle/>
          <a:p>
            <a:pPr defTabSz="925195">
              <a:defRPr/>
            </a:pPr>
            <a:r>
              <a:rPr lang="en-US" sz="700" dirty="0">
                <a:solidFill>
                  <a:prstClr val="black"/>
                </a:solidFill>
              </a:rPr>
              <a:t>GINA Pocket Guide 2019/ pdf p20/Box7</a:t>
            </a:r>
          </a:p>
        </p:txBody>
      </p:sp>
      <p:sp>
        <p:nvSpPr>
          <p:cNvPr id="6" name="Slide Number Placeholder 3"/>
          <p:cNvSpPr txBox="1"/>
          <p:nvPr/>
        </p:nvSpPr>
        <p:spPr>
          <a:xfrm>
            <a:off x="3938589" y="9546621"/>
            <a:ext cx="3013075" cy="504272"/>
          </a:xfrm>
          <a:prstGeom prst="rect">
            <a:avLst/>
          </a:prstGeom>
        </p:spPr>
        <p:txBody>
          <a:bodyPr lIns="92528" tIns="46264" rIns="92528" bIns="46264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DEC70808-2C27-4896-90CC-FA247230E736}" type="slidenum">
              <a:rPr lang="en-GB" altLang="ru-RU" sz="1200" smtClean="0">
                <a:solidFill>
                  <a:srgbClr val="000000"/>
                </a:solidFill>
                <a:latin typeface="Calibri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GB" altLang="ru-RU" sz="120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97636" name="Notes Placeholder 9"/>
          <p:cNvSpPr>
            <a:spLocks noGrp="1" noChangeArrowheads="1"/>
          </p:cNvSpPr>
          <p:nvPr>
            <p:ph type="body" sz="quarter" idx="4294967295"/>
          </p:nvPr>
        </p:nvSpPr>
        <p:spPr/>
        <p:txBody>
          <a:bodyPr/>
          <a:lstStyle/>
          <a:p>
            <a:endParaRPr lang="en-US" alt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542C47D-591B-41B6-A359-70A6331E3C15}" type="slidenum">
              <a:rPr lang="ru-RU">
                <a:solidFill>
                  <a:prstClr val="black"/>
                </a:solidFill>
              </a:rPr>
              <a:pPr/>
              <a:t>3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8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84250" y="769938"/>
            <a:ext cx="4932363" cy="3700462"/>
          </a:xfrm>
          <a:ln/>
        </p:spPr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1389" y="4700779"/>
            <a:ext cx="5019675" cy="4472820"/>
          </a:xfrm>
        </p:spPr>
        <p:txBody>
          <a:bodyPr/>
          <a:lstStyle/>
          <a:p>
            <a:endParaRPr lang="ru-RU" sz="1000" b="1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1CAB35E-82FC-4BC9-BCF0-C0F401AA17D7}" type="slidenum">
              <a:rPr lang="ru-RU">
                <a:solidFill>
                  <a:prstClr val="black"/>
                </a:solidFill>
              </a:rPr>
              <a:pPr/>
              <a:t>38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153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724956"/>
            <a:ext cx="5029200" cy="4476274"/>
          </a:xfrm>
        </p:spPr>
        <p:txBody>
          <a:bodyPr/>
          <a:lstStyle/>
          <a:p>
            <a:r>
              <a:rPr lang="ru-RU" b="1"/>
              <a:t>Слайд для заполнения под диктовку!</a:t>
            </a:r>
            <a:endParaRPr lang="en-US" b="1"/>
          </a:p>
          <a:p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A42269-3A18-444D-8CD8-282F4B5EC868}" type="slidenum">
              <a:rPr lang="ru-RU" smtClean="0">
                <a:solidFill>
                  <a:prstClr val="black"/>
                </a:solidFill>
              </a:rPr>
              <a:pPr/>
              <a:t>4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4346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6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GB" altLang="en-US" smtClean="0">
                <a:solidFill>
                  <a:prstClr val="black"/>
                </a:solidFill>
              </a:rPr>
              <a:t>SGA 2001-W-6418-SS</a:t>
            </a:r>
            <a:endParaRPr lang="da-DK" altLang="en-US" smtClean="0">
              <a:solidFill>
                <a:prstClr val="black"/>
              </a:solidFill>
            </a:endParaRPr>
          </a:p>
        </p:txBody>
      </p:sp>
      <p:sp>
        <p:nvSpPr>
          <p:cNvPr id="54275" name="Rectangle 8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ru-RU">
                <a:solidFill>
                  <a:prstClr val="black"/>
                </a:solidFill>
                <a:latin typeface="Calibri" panose="020F0502020204030204" pitchFamily="34" charset="0"/>
              </a:rPr>
              <a:t>MS</a:t>
            </a:r>
            <a:fld id="{E6E1FBF9-30B2-48AA-8532-3404DDF511BE}" type="slidenum">
              <a:rPr lang="en-US" altLang="ru-RU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49</a:t>
            </a:fld>
            <a:endParaRPr lang="en-US" altLang="ru-RU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  <p:sp>
        <p:nvSpPr>
          <p:cNvPr id="1269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44563" y="747713"/>
            <a:ext cx="4972050" cy="3729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698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68389" y="4723229"/>
            <a:ext cx="4721225" cy="392192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dirty="0" smtClean="0"/>
              <a:t>Но БА это то заболевание, которое требует комплексного подхода к наблюдению и лечению.</a:t>
            </a:r>
          </a:p>
          <a:p>
            <a:r>
              <a:rPr lang="ru-RU" altLang="ru-RU" dirty="0" smtClean="0"/>
              <a:t>Давайте вспомним (посмотрим) механизмы развития воспаления при БА для того, что бы определить место каждого препарата в лечении этого заболевания.</a:t>
            </a:r>
          </a:p>
          <a:p>
            <a:r>
              <a:rPr lang="ru-RU" altLang="ru-RU" dirty="0" smtClean="0"/>
              <a:t>Итак хорошо знакомая картина: 2 пути воспаления – </a:t>
            </a:r>
            <a:r>
              <a:rPr lang="ru-RU" altLang="ru-RU" dirty="0" err="1" smtClean="0"/>
              <a:t>лейкотриеновый</a:t>
            </a:r>
            <a:r>
              <a:rPr lang="ru-RU" altLang="ru-RU" dirty="0" smtClean="0"/>
              <a:t> и </a:t>
            </a:r>
            <a:r>
              <a:rPr lang="ru-RU" altLang="ru-RU" dirty="0" err="1" smtClean="0"/>
              <a:t>цитокиновый</a:t>
            </a:r>
            <a:r>
              <a:rPr lang="ru-RU" altLang="ru-RU" dirty="0" smtClean="0"/>
              <a:t>.</a:t>
            </a:r>
          </a:p>
          <a:p>
            <a:r>
              <a:rPr lang="ru-RU" altLang="ru-RU" dirty="0" smtClean="0"/>
              <a:t>КС ингибируя цитокины, блокируют </a:t>
            </a:r>
            <a:r>
              <a:rPr lang="ru-RU" altLang="ru-RU" dirty="0" err="1" smtClean="0"/>
              <a:t>цитокиновый</a:t>
            </a:r>
            <a:r>
              <a:rPr lang="ru-RU" altLang="ru-RU" dirty="0" smtClean="0"/>
              <a:t> путь, </a:t>
            </a:r>
            <a:r>
              <a:rPr lang="ru-RU" altLang="ru-RU" dirty="0" err="1" smtClean="0"/>
              <a:t>Сингуляр</a:t>
            </a:r>
            <a:r>
              <a:rPr lang="ru-RU" altLang="ru-RU" dirty="0" smtClean="0"/>
              <a:t> же блокирует </a:t>
            </a:r>
            <a:r>
              <a:rPr lang="ru-RU" altLang="ru-RU" dirty="0" err="1" smtClean="0"/>
              <a:t>лейкотриеновый</a:t>
            </a:r>
            <a:r>
              <a:rPr lang="ru-RU" altLang="ru-RU" dirty="0" smtClean="0"/>
              <a:t> путь воспаления. </a:t>
            </a:r>
          </a:p>
          <a:p>
            <a:r>
              <a:rPr lang="ru-RU" altLang="ru-RU" dirty="0" smtClean="0"/>
              <a:t>Только совместное применение двух препаратов обеспечит наиболее полный контроль воспаления.</a:t>
            </a:r>
          </a:p>
          <a:p>
            <a:endParaRPr lang="ru-RU" altLang="ru-RU" dirty="0" smtClean="0"/>
          </a:p>
          <a:p>
            <a:r>
              <a:rPr lang="ru-RU" altLang="ru-RU" dirty="0" smtClean="0"/>
              <a:t>Это предположение нашло подтверждение во многих исследованиях, где применение 2-х противовоспалительных агентов позволили добиться лучшего контроля БА. Мы обязательно поговорим об этом в одну из наших последующих встреч.</a:t>
            </a:r>
          </a:p>
          <a:p>
            <a:endParaRPr lang="ru-RU" altLang="ru-RU" b="1" dirty="0" smtClean="0"/>
          </a:p>
        </p:txBody>
      </p:sp>
    </p:spTree>
    <p:extLst>
      <p:ext uri="{BB962C8B-B14F-4D97-AF65-F5344CB8AC3E}">
        <p14:creationId xmlns:p14="http://schemas.microsoft.com/office/powerpoint/2010/main" val="23434390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62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mtClean="0"/>
              <a:t>Процесс образования лейкотриенов</a:t>
            </a:r>
          </a:p>
        </p:txBody>
      </p:sp>
      <p:sp>
        <p:nvSpPr>
          <p:cNvPr id="962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70C5C59-343A-4559-AF70-D4E8854507AA}" type="slidenum">
              <a:rPr lang="ru-RU" altLang="ru-RU">
                <a:solidFill>
                  <a:prstClr val="black"/>
                </a:solidFill>
                <a:latin typeface="Arial" pitchFamily="34" charset="0"/>
              </a:rPr>
              <a:pPr/>
              <a:t>50</a:t>
            </a:fld>
            <a:endParaRPr lang="ru-RU" altLang="ru-RU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194AC9-24B9-4FCC-9A10-9BB5B4FA3A42}" type="slidenum">
              <a:rPr lang="ru-RU" smtClean="0">
                <a:solidFill>
                  <a:prstClr val="black"/>
                </a:solidFill>
              </a:rPr>
              <a:pPr/>
              <a:t>5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151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A8F0AB-AE87-4925-B45D-4E47E93E989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1874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en-US" sz="1200" b="1" dirty="0" err="1" smtClean="0">
                <a:solidFill>
                  <a:schemeClr val="bg1"/>
                </a:solidFill>
                <a:latin typeface="+mn-lt"/>
              </a:rPr>
              <a:t>Цистеиниловые</a:t>
            </a:r>
            <a:r>
              <a:rPr lang="ru-RU" altLang="en-US" sz="12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ru-RU" altLang="en-US" sz="1200" b="1" dirty="0" err="1" smtClean="0">
                <a:solidFill>
                  <a:schemeClr val="bg1"/>
                </a:solidFill>
                <a:latin typeface="+mn-lt"/>
              </a:rPr>
              <a:t>лейкотриены</a:t>
            </a:r>
            <a:r>
              <a:rPr lang="ru-RU" altLang="en-US" sz="1200" b="1" dirty="0" smtClean="0">
                <a:solidFill>
                  <a:schemeClr val="bg1"/>
                </a:solidFill>
                <a:latin typeface="+mn-lt"/>
              </a:rPr>
              <a:t>: действие на дыхательные пут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887303-CDD9-4C72-8AA1-DFB1CA2E07D3}" type="slidenum">
              <a:rPr lang="ru-RU" smtClean="0">
                <a:solidFill>
                  <a:prstClr val="black"/>
                </a:solidFill>
              </a:rPr>
              <a:pPr/>
              <a:t>5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660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90625" y="1243013"/>
            <a:ext cx="4476750" cy="33575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Антагонисты </a:t>
            </a:r>
            <a:r>
              <a:rPr lang="ru-RU" sz="1200" b="1" dirty="0" err="1" smtClean="0">
                <a:solidFill>
                  <a:schemeClr val="bg1"/>
                </a:solidFill>
                <a:latin typeface="+mn-lt"/>
              </a:rPr>
              <a:t>лейкотриеновых</a:t>
            </a:r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 рецепторов: действие на дыхательные пути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E7F25B-D2B2-4DEB-83B9-F0D6FCF0E02B}" type="slidenum">
              <a:rPr lang="ru-RU" smtClean="0">
                <a:solidFill>
                  <a:prstClr val="black"/>
                </a:solidFill>
              </a:rPr>
              <a:pPr/>
              <a:t>5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8755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8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28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5446390-3C09-42A2-825F-37AEF3F86737}" type="slidenum">
              <a:rPr lang="ru-RU" sz="1800" kern="0">
                <a:solidFill>
                  <a:sysClr val="windowText" lastClr="000000"/>
                </a:solidFill>
              </a:rPr>
              <a:pPr>
                <a:defRPr/>
              </a:pPr>
              <a:t>60</a:t>
            </a:fld>
            <a:endParaRPr lang="ru-RU" sz="1800" kern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8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38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3386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64765729-CB63-4C5A-B491-E791BA2B96E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1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8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smtClean="0"/>
              <a:t>Годовое французское наблюдательное исследование на 104 детях (в возрасте 6-18 лет) с тяжелыми формами аллергической бронхиальной астмы, которые получали дополнительную терапию Омализумабом.</a:t>
            </a:r>
          </a:p>
          <a:p>
            <a:pPr eaLnBrk="1" hangingPunct="1">
              <a:spcBef>
                <a:spcPct val="0"/>
              </a:spcBef>
            </a:pPr>
            <a:r>
              <a:rPr lang="ru-RU" smtClean="0"/>
              <a:t>Обострения определялись как потребность в использовании системных стероидов ≥3 дней. Средняя частота рассчитывалась на пациента за предыдущие 12 месяцев, а также в каждой временной точке исследования. Уровень контроля астмы оценивался на протяжении 4 недель перед каждым визитом и классифицировался как неконтролируемый, частично контролируемый и хороший контроль в соответствии с рекомендациями Глобальной инициативы по борьбе с бронхиальной астмой (GINA) (www.ginasthma.org).  </a:t>
            </a:r>
          </a:p>
          <a:p>
            <a:pPr eaLnBrk="1" hangingPunct="1">
              <a:spcBef>
                <a:spcPct val="0"/>
              </a:spcBef>
            </a:pPr>
            <a:r>
              <a:rPr lang="ru-RU" smtClean="0"/>
              <a:t>*Время первого приема  Омализумаба для оценки обострений за первые 12 месяцев.</a:t>
            </a:r>
          </a:p>
          <a:p>
            <a:pPr eaLnBrk="1" hangingPunct="1">
              <a:spcBef>
                <a:spcPct val="0"/>
              </a:spcBef>
            </a:pPr>
            <a:r>
              <a:rPr lang="ru-RU" smtClean="0"/>
              <a:t> по сравнению со значениями до терапии</a:t>
            </a:r>
          </a:p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3488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02044A98-7AC7-42FE-B03E-388E3F96C78D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4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9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59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63590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58D5FF25-8D86-468A-9434-12B1C8A6206E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5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9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69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6932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fld id="{709E7EC6-F127-4692-8EB2-D73DC71F827C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6</a:t>
            </a:fld>
            <a:endParaRPr 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Образ слайда 1"/>
          <p:cNvSpPr>
            <a:spLocks noGrp="1" noRot="1" noChangeAspect="1" noChangeArrowheads="1" noTextEdit="1"/>
          </p:cNvSpPr>
          <p:nvPr>
            <p:ph type="sldImg" idx="4294967295"/>
          </p:nvPr>
        </p:nvSpPr>
        <p:spPr bwMode="auto">
          <a:xfrm>
            <a:off x="942975" y="746125"/>
            <a:ext cx="4972050" cy="3730625"/>
          </a:xfrm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8066" name="Заметки 2"/>
          <p:cNvSpPr>
            <a:spLocks noGrp="1" noChangeArrowheads="1"/>
          </p:cNvSpPr>
          <p:nvPr>
            <p:ph type="body" idx="4294967295"/>
          </p:nvPr>
        </p:nvSpPr>
        <p:spPr bwMode="auto"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i="1" smtClean="0"/>
              <a:t>П При астме 2-го типа могут быть нацелены </a:t>
            </a:r>
            <a:r>
              <a:rPr lang="ru-RU" b="1" i="1" smtClean="0"/>
              <a:t>три основных пути</a:t>
            </a:r>
            <a:r>
              <a:rPr lang="ru-RU" i="1" smtClean="0"/>
              <a:t>: путь воспаления (анти-TNF-α вмешательства, такие как Этанерцепт, инфликсимаб, и Адалимумаб; анти–Ил-1β вмешательства, такие как анакинра; анти–ИЛ-6 таргетинг с тоцилизумабом или атлизумабом; отрицательная обратная связь с Ил-37; или CD80-CD28 блокада с абатацептом), путь IL-17 (бродалумаб) или путь анти–IL-33, с блокадой CXCR2 и HMGB1/RAGE в качестве дополнительных подходоври астме 2-го типа вмешательства могут быть нацелены </a:t>
            </a:r>
            <a:r>
              <a:rPr lang="ru-RU" b="1" i="1" smtClean="0"/>
              <a:t>три основных пути </a:t>
            </a:r>
            <a:r>
              <a:rPr lang="ru-RU" i="1" smtClean="0"/>
              <a:t>воспаления </a:t>
            </a:r>
            <a:endParaRPr lang="ru-RU" smtClean="0"/>
          </a:p>
        </p:txBody>
      </p:sp>
      <p:sp>
        <p:nvSpPr>
          <p:cNvPr id="88067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66CC59CB-C99D-462B-899F-F24D32C889E9}" type="slidenum">
              <a:rPr lang="ru-RU" altLang="zh-CN">
                <a:solidFill>
                  <a:prstClr val="black"/>
                </a:solidFill>
              </a:rPr>
              <a:pPr/>
              <a:t>67</a:t>
            </a:fld>
            <a:endParaRPr lang="ru-RU" altLang="zh-CN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41388" y="746125"/>
            <a:ext cx="4975225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5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>
                <a:latin typeface="Arial" pitchFamily="34" charset="0"/>
                <a:cs typeface="Arial" pitchFamily="34" charset="0"/>
              </a:rPr>
              <a:t>ФЖЕЛ – форсированная жизненная емкость легких</a:t>
            </a:r>
          </a:p>
        </p:txBody>
      </p:sp>
      <p:sp>
        <p:nvSpPr>
          <p:cNvPr id="395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AD1878A7-368F-4F3F-A0D4-568720681230}" type="slidenum">
              <a:rPr lang="en-US">
                <a:solidFill>
                  <a:srgbClr val="000000"/>
                </a:solidFill>
              </a:rPr>
              <a:pPr eaLnBrk="1" hangingPunct="1"/>
              <a:t>7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41388" y="746125"/>
            <a:ext cx="4975225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4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43002" y="4724400"/>
            <a:ext cx="4570413" cy="4476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A42269-3A18-444D-8CD8-282F4B5EC868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583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A8FE7A-0AE4-4A5D-B845-3E2B9CF4672F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50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308D71-E3B3-4FAE-9945-F38575F50CEF}" type="slidenum">
              <a:rPr lang="ru-RU">
                <a:solidFill>
                  <a:prstClr val="black"/>
                </a:solidFill>
              </a:rPr>
              <a:pPr/>
              <a:t>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770224"/>
            <a:ext cx="4535487" cy="3700870"/>
          </a:xfrm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1389" y="4700779"/>
            <a:ext cx="5019675" cy="4472820"/>
          </a:xfrm>
        </p:spPr>
        <p:txBody>
          <a:bodyPr/>
          <a:lstStyle/>
          <a:p>
            <a:r>
              <a:rPr lang="ru-RU" b="1"/>
              <a:t>Однако важно понимать, что степень тяжести астмы зависит не только от тяжести основного заболевания, но и от ответа на терапию. Так, пациент может обратиться к врачу с выраженными симптомами и тяжелой бронхиальной обструкцией, в результате ему будет поставлен диагноз тяжелой персистирующей бронхиальной астмы; однако в случае хорошего ответа на терапию впоследствии бронхиальная астма может быть расценена как среднетяжелая персистирующая. Кроме того, степень тяжести астмы у конкретного пациента может меняться с течением времени (через несколько месяцев или лет). Главным недостатком этой классификации является то, что с ее помощью трудно предсказать объем терапии, в которой будет нуждаться пациент, и ответ пациента на терапию. Для этой цели больше подходит периодическая оценка уровня контроля над бронхиальной астмой.</a:t>
            </a:r>
          </a:p>
          <a:p>
            <a:endParaRPr lang="ru-RU" b="1"/>
          </a:p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F6AF10B-F584-4DFF-8C6C-2A82C0C936E8}" type="slidenum">
              <a:rPr lang="ru-RU">
                <a:solidFill>
                  <a:prstClr val="black"/>
                </a:solidFill>
              </a:rPr>
              <a:pPr/>
              <a:t>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771951"/>
            <a:ext cx="4535487" cy="3700869"/>
          </a:xfrm>
          <a:ln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9800" y="4702506"/>
            <a:ext cx="5019675" cy="4469366"/>
          </a:xfrm>
        </p:spPr>
        <p:txBody>
          <a:bodyPr/>
          <a:lstStyle/>
          <a:p>
            <a:r>
              <a:rPr lang="ru-RU"/>
              <a:t>Выделяют три уровня контроля над БА – контролируемую, частично контролируемую и неконтролируемую астму. Определение у конкретного пациента того или иного уровня контроля позволяет принимать решения об изменении текущей терапии – как показано на следующем слайде.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41388" y="746125"/>
            <a:ext cx="4975225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18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4180AF6-0992-4456-9144-8C5899D25D73}" type="slidenum">
              <a:rPr lang="en-US" altLang="ru-RU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21</a:t>
            </a:fld>
            <a:endParaRPr lang="en-US" altLang="ru-RU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5656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0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1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2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3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3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4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4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6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6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7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8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8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9.xml"/><Relationship Id="rId1" Type="http://schemas.openxmlformats.org/officeDocument/2006/relationships/themeOverride" Target="../theme/themeOverride3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0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0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5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5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5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6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7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0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7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14.png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1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1.xml"/></Relationships>
</file>

<file path=ppt/slideLayouts/_rels/slideLayout7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7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7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7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5970591"/>
            <a:ext cx="9144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9525" y="6053169"/>
            <a:ext cx="2249488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59028" y="6043694"/>
            <a:ext cx="6784975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" name="Дата 27"/>
          <p:cNvSpPr>
            <a:spLocks noGrp="1"/>
          </p:cNvSpPr>
          <p:nvPr>
            <p:ph type="dt" sz="half" idx="10"/>
          </p:nvPr>
        </p:nvSpPr>
        <p:spPr>
          <a:xfrm>
            <a:off x="76200" y="6069013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88E9035-D7D2-4773-87EF-DF0DA6E0665E}" type="datetimeFigureOut">
              <a:rPr lang="en-US"/>
              <a:pPr>
                <a:defRPr/>
              </a:pPr>
              <a:t>3/16/2020</a:t>
            </a:fld>
            <a:endParaRPr lang="en-US"/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085975" y="236544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8BDC42"/>
              </a:solidFill>
            </a:endParaRPr>
          </a:p>
        </p:txBody>
      </p:sp>
      <p:sp>
        <p:nvSpPr>
          <p:cNvPr id="11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C688CE7-9AB9-4FCF-A9AF-70B84B96C34E}" type="slidenum">
              <a:rPr lang="en-US">
                <a:solidFill>
                  <a:srgbClr val="8BDC4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BDC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5084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8F268-93DE-4369-91ED-EC79ED624457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06351-443E-47BA-BC09-D24143FEB8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30076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7"/>
            <a:ext cx="3810000" cy="1162051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7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4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E6888-E6CF-410B-BACA-C8DDDDD34780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1EB7C3-9790-4224-96B0-B04A389F82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11743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tIns="274320">
            <a:normAutofit/>
          </a:bodyPr>
          <a:lstStyle/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  <a:defRPr/>
            </a:pPr>
            <a:endParaRPr lang="en-US" sz="32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Блок-схема: процесс 5"/>
          <p:cNvSpPr/>
          <p:nvPr/>
        </p:nvSpPr>
        <p:spPr>
          <a:xfrm rot="19468671">
            <a:off x="396875" y="954093"/>
            <a:ext cx="685800" cy="204787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 rot="2103354" flipH="1">
            <a:off x="5003802" y="936627"/>
            <a:ext cx="649288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10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tIns="274320">
            <a:normAutofit/>
          </a:bodyPr>
          <a:lstStyle>
            <a:lvl1pPr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278AC-CAC5-437C-BAC5-3B931F4BDE0E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F5EAC4-F436-4921-9192-26E68BDC4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057149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EC837-A55D-4B68-9B4A-6C2AD5DBCAF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54760B-E935-4FE6-B9CA-F9EE4CF59E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799360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45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8"/>
            <a:ext cx="55626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62338F-5626-47A9-85BA-E5881A6D2C15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45ACD8-1F16-4154-9D72-7F434652CAC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0721871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7024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393740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186368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F1BA12-CC98-4FAC-A505-52AD1DC87B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242854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311575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4600" y="381000"/>
            <a:ext cx="64008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143000" y="1600200"/>
            <a:ext cx="38100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5105400" y="1600200"/>
            <a:ext cx="3810000" cy="4495800"/>
          </a:xfrm>
        </p:spPr>
        <p:txBody>
          <a:bodyPr/>
          <a:lstStyle/>
          <a:p>
            <a:pPr lvl="0"/>
            <a:r>
              <a:rPr lang="ru-RU" noProof="0" smtClean="0"/>
              <a:t>Вставка картинки</a:t>
            </a:r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1430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581400" y="64008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104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948E1ADB-1B5F-484D-BC49-148EBAFFF5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03448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27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9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2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32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ABE721-FBC8-40D4-8F88-004CC42A6C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2" y="6248432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6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45EAB-DFCB-4D45-B15F-2F5DFC15B1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3258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921433" y="1413803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1157290" y="1344694"/>
            <a:ext cx="63500" cy="65087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7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2EDDD6-403B-4D3D-8982-7C9324624B2D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9F1EF-5EA5-49CC-A893-158A3694720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48757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54FB8-E21D-43B6-B95D-EA39DE8BE7FB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D0CC60-53EB-4F06-AF99-D71AC1DA61B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857916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2825" y="0"/>
            <a:ext cx="68580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invGray">
          <a:xfrm>
            <a:off x="2286000" y="0"/>
            <a:ext cx="762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408239" y="2746375"/>
            <a:ext cx="63500" cy="63500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33E8F0-7837-48E4-873D-66CECB91CF7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A7B81-ABCB-4A4D-8571-D6600C42E8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025454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6412F-64CA-4375-B994-3A28D73380A3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89975F-AA6D-4E97-978A-9CB59CE0F8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648770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/>
          <a:lstStyle>
            <a:lvl1pPr algn="ctr">
              <a:defRPr sz="4500" b="1" cap="none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9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9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C3F4FB-347F-43D1-8DC4-EC54F6026227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F5F702-85EF-4A4B-8323-ABB13C63E6E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3709832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91F0F6-22D3-495D-B010-050E569DE528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CF0557-16BB-453F-85D0-69551ED79C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1623431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14419" y="0"/>
            <a:ext cx="8129587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invGray">
          <a:xfrm>
            <a:off x="1014440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71D43-AFFF-4FAA-9245-400036AE8632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435F0B-16B6-47F9-9D63-BEC98EF563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566919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7"/>
            <a:ext cx="3810000" cy="1162051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7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4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E6888-E6CF-410B-BACA-C8DDDDD34780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1EB7C3-9790-4224-96B0-B04A389F82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819139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tIns="274320">
            <a:normAutofit/>
          </a:bodyPr>
          <a:lstStyle/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  <a:defRPr/>
            </a:pPr>
            <a:endParaRPr lang="en-US" sz="32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Блок-схема: процесс 5"/>
          <p:cNvSpPr/>
          <p:nvPr/>
        </p:nvSpPr>
        <p:spPr>
          <a:xfrm rot="19468671">
            <a:off x="396875" y="954093"/>
            <a:ext cx="685800" cy="204787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 rot="2103354" flipH="1">
            <a:off x="5003802" y="936627"/>
            <a:ext cx="649288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10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tIns="274320">
            <a:normAutofit/>
          </a:bodyPr>
          <a:lstStyle>
            <a:lvl1pPr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278AC-CAC5-437C-BAC5-3B931F4BDE0E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F5EAC4-F436-4921-9192-26E68BDC4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16959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EC837-A55D-4B68-9B4A-6C2AD5DBCAF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54760B-E935-4FE6-B9CA-F9EE4CF59E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61731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1826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45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8"/>
            <a:ext cx="55626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62338F-5626-47A9-85BA-E5881A6D2C15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45ACD8-1F16-4154-9D72-7F434652CAC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134869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18106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1793317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743418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F1BA12-CC98-4FAC-A505-52AD1DC87B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849356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3069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4600" y="381000"/>
            <a:ext cx="64008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143000" y="1600200"/>
            <a:ext cx="38100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5105400" y="1600200"/>
            <a:ext cx="3810000" cy="4495800"/>
          </a:xfrm>
        </p:spPr>
        <p:txBody>
          <a:bodyPr/>
          <a:lstStyle/>
          <a:p>
            <a:pPr lvl="0"/>
            <a:r>
              <a:rPr lang="ru-RU" noProof="0" smtClean="0"/>
              <a:t>Вставка картинки</a:t>
            </a:r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1430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581400" y="64008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104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948E1ADB-1B5F-484D-BC49-148EBAFFF5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0926867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4115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27305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027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42294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2602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32113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66673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308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9806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0918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0878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621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7633097" y="6642100"/>
            <a:ext cx="15103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800" smtClean="0">
                <a:solidFill>
                  <a:prstClr val="black"/>
                </a:solidFill>
              </a:rPr>
              <a:t>PUL_</a:t>
            </a:r>
            <a:r>
              <a:rPr lang="ru-RU" altLang="ru-RU" sz="800" smtClean="0">
                <a:solidFill>
                  <a:prstClr val="black"/>
                </a:solidFill>
              </a:rPr>
              <a:t>397</a:t>
            </a:r>
            <a:r>
              <a:rPr lang="en-US" altLang="ru-RU" sz="800" smtClean="0">
                <a:solidFill>
                  <a:prstClr val="black"/>
                </a:solidFill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</a:rPr>
              <a:t>803</a:t>
            </a:r>
            <a:r>
              <a:rPr lang="en-US" altLang="ru-RU" sz="800" smtClean="0">
                <a:solidFill>
                  <a:prstClr val="black"/>
                </a:solidFill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</a:rPr>
              <a:t>011</a:t>
            </a:r>
            <a:r>
              <a:rPr lang="en-US" altLang="ru-RU" sz="800" smtClean="0">
                <a:solidFill>
                  <a:prstClr val="black"/>
                </a:solidFill>
              </a:rPr>
              <a:t>_</a:t>
            </a:r>
            <a:r>
              <a:rPr lang="ru-RU" altLang="ru-RU" sz="800" smtClean="0">
                <a:solidFill>
                  <a:prstClr val="black"/>
                </a:solidFill>
              </a:rPr>
              <a:t>01/10/14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Author | 00 Month Year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9FFF1-40D2-435D-9EE6-C007F4B99B6B}" type="slidenum">
              <a:rPr lang="en-GB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>
                    <a:tint val="75000"/>
                  </a:prstClr>
                </a:solidFill>
              </a:rPr>
              <a:t>Set area descriptor | Sub level 1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4932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1"/>
            <a:r>
              <a:rPr lang="en-GB" noProof="0" dirty="0"/>
              <a:t>Third level</a:t>
            </a:r>
          </a:p>
          <a:p>
            <a:pPr lvl="1"/>
            <a:r>
              <a:rPr lang="en-GB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2502849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14593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" y="0"/>
            <a:ext cx="150875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242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1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or Operating Unit/Franchise or Department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603" y="6266094"/>
            <a:ext cx="1645919" cy="30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850911"/>
      </p:ext>
    </p:extLst>
  </p:cSld>
  <p:clrMapOvr>
    <a:masterClrMapping/>
  </p:clrMapOvr>
  <p:hf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27707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856503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5999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417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3052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45544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0714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59678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659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2768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62773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8902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7633097" y="6642100"/>
            <a:ext cx="15103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800" smtClean="0">
                <a:solidFill>
                  <a:prstClr val="black"/>
                </a:solidFill>
              </a:rPr>
              <a:t>PUL_</a:t>
            </a:r>
            <a:r>
              <a:rPr lang="ru-RU" altLang="ru-RU" sz="800" smtClean="0">
                <a:solidFill>
                  <a:prstClr val="black"/>
                </a:solidFill>
              </a:rPr>
              <a:t>397</a:t>
            </a:r>
            <a:r>
              <a:rPr lang="en-US" altLang="ru-RU" sz="800" smtClean="0">
                <a:solidFill>
                  <a:prstClr val="black"/>
                </a:solidFill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</a:rPr>
              <a:t>803</a:t>
            </a:r>
            <a:r>
              <a:rPr lang="en-US" altLang="ru-RU" sz="800" smtClean="0">
                <a:solidFill>
                  <a:prstClr val="black"/>
                </a:solidFill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</a:rPr>
              <a:t>011</a:t>
            </a:r>
            <a:r>
              <a:rPr lang="en-US" altLang="ru-RU" sz="800" smtClean="0">
                <a:solidFill>
                  <a:prstClr val="black"/>
                </a:solidFill>
              </a:rPr>
              <a:t>_</a:t>
            </a:r>
            <a:r>
              <a:rPr lang="ru-RU" altLang="ru-RU" sz="800" smtClean="0">
                <a:solidFill>
                  <a:prstClr val="black"/>
                </a:solidFill>
              </a:rPr>
              <a:t>01/10/14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Author | 00 Month Year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79FFF1-40D2-435D-9EE6-C007F4B99B6B}" type="slidenum">
              <a:rPr lang="en-GB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prstClr val="black">
                    <a:tint val="75000"/>
                  </a:prstClr>
                </a:solidFill>
              </a:rPr>
              <a:t>Set area descriptor | Sub level 1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28987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 hasCustomPrompt="1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18375" y="6462339"/>
            <a:ext cx="396000" cy="216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C4F54F3-C349-4609-AFEE-01462D5C7942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6" hasCustomPrompt="1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r>
              <a:rPr lang="en-GB" noProof="0" dirty="0"/>
              <a:t>Fir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1"/>
            <a:r>
              <a:rPr lang="en-GB" noProof="0" dirty="0"/>
              <a:t>Third level</a:t>
            </a:r>
          </a:p>
          <a:p>
            <a:pPr lvl="1"/>
            <a:r>
              <a:rPr lang="en-GB" noProof="0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848654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" y="0"/>
            <a:ext cx="150875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242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1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or Operating Unit/Franchise or Department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0603" y="6266094"/>
            <a:ext cx="1645919" cy="300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139802"/>
      </p:ext>
    </p:extLst>
  </p:cSld>
  <p:clrMapOvr>
    <a:masterClrMapping/>
  </p:clrMapOvr>
  <p:hf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A2FEE72-78F8-4547-B456-92E96A31B18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6030329"/>
      </p:ext>
    </p:extLst>
  </p:cSld>
  <p:clrMapOvr>
    <a:masterClrMapping/>
  </p:clrMapOvr>
  <p:transition spd="slow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BCE3546-93C4-4E86-9AA2-67B3FCD5DD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0335457"/>
      </p:ext>
    </p:extLst>
  </p:cSld>
  <p:clrMapOvr>
    <a:masterClrMapping/>
  </p:clrMapOvr>
  <p:transition spd="slow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98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9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0D14FD0-BC93-4BE7-BF8F-DCBFFB4E4C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55712524"/>
      </p:ext>
    </p:extLst>
  </p:cSld>
  <p:clrMapOvr>
    <a:masterClrMapping/>
  </p:clrMapOvr>
  <p:transition spd="slow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2ECE16B-F50B-4BCE-B6C7-6DD0527174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58441874"/>
      </p:ext>
    </p:extLst>
  </p:cSld>
  <p:clrMapOvr>
    <a:masterClrMapping/>
  </p:clrMapOvr>
  <p:transition spd="slow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67C5C2A-433A-4259-97C8-28D0E64DF6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1763786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06996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8D61215-C179-4AA9-BD70-1CF0B55C03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1838118"/>
      </p:ext>
    </p:extLst>
  </p:cSld>
  <p:clrMapOvr>
    <a:masterClrMapping/>
  </p:clrMapOvr>
  <p:transition spd="slow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841798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51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F8849AB-C181-4B8F-ABEF-5F594154B16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44874023"/>
      </p:ext>
    </p:extLst>
  </p:cSld>
  <p:clrMapOvr>
    <a:masterClrMapping/>
  </p:clrMapOvr>
  <p:transition spd="slow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51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978FD3F-7A05-4458-809E-D836C499B0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20472741"/>
      </p:ext>
    </p:extLst>
  </p:cSld>
  <p:clrMapOvr>
    <a:masterClrMapping/>
  </p:clrMapOvr>
  <p:transition spd="slow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BB9EAF8-9EBE-4A47-82C9-07B1C4CDBC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11259138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A6C9906-93E2-42DD-AB17-08FC4065497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27370298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1706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5465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9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0963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6100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4301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86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5836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387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4293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02197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9110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8528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A2FEE72-78F8-4547-B456-92E96A31B18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0056719"/>
      </p:ext>
    </p:extLst>
  </p:cSld>
  <p:clrMapOvr>
    <a:masterClrMapping/>
  </p:clrMapOvr>
  <p:transition spd="slow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BCE3546-93C4-4E86-9AA2-67B3FCD5DD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0905575"/>
      </p:ext>
    </p:extLst>
  </p:cSld>
  <p:clrMapOvr>
    <a:masterClrMapping/>
  </p:clrMapOvr>
  <p:transition spd="slow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9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0D14FD0-BC93-4BE7-BF8F-DCBFFB4E4C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1107451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68285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2ECE16B-F50B-4BCE-B6C7-6DD0527174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12649630"/>
      </p:ext>
    </p:extLst>
  </p:cSld>
  <p:clrMapOvr>
    <a:masterClrMapping/>
  </p:clrMapOvr>
  <p:transition spd="slow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67C5C2A-433A-4259-97C8-28D0E64DF6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06714764"/>
      </p:ext>
    </p:extLst>
  </p:cSld>
  <p:clrMapOvr>
    <a:masterClrMapping/>
  </p:clrMapOvr>
  <p:transition spd="slow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8D61215-C179-4AA9-BD70-1CF0B55C03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03959322"/>
      </p:ext>
    </p:extLst>
  </p:cSld>
  <p:clrMapOvr>
    <a:masterClrMapping/>
  </p:clrMapOvr>
  <p:transition spd="slow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2574034"/>
      </p:ext>
    </p:extLst>
  </p:cSld>
  <p:clrMapOvr>
    <a:masterClrMapping/>
  </p:clrMapOvr>
  <p:transition spd="slow"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31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F8849AB-C181-4B8F-ABEF-5F594154B16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44538055"/>
      </p:ext>
    </p:extLst>
  </p:cSld>
  <p:clrMapOvr>
    <a:masterClrMapping/>
  </p:clrMapOvr>
  <p:transition spd="slow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31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978FD3F-7A05-4458-809E-D836C499B0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8278210"/>
      </p:ext>
    </p:extLst>
  </p:cSld>
  <p:clrMapOvr>
    <a:masterClrMapping/>
  </p:clrMapOvr>
  <p:transition spd="slow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BB9EAF8-9EBE-4A47-82C9-07B1C4CDBC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49455088"/>
      </p:ext>
    </p:extLst>
  </p:cSld>
  <p:clrMapOvr>
    <a:masterClrMapping/>
  </p:clrMapOvr>
  <p:transition spd="slow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A6C9906-93E2-42DD-AB17-08FC4065497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9297179"/>
      </p:ext>
    </p:extLst>
  </p:cSld>
  <p:clrMapOvr>
    <a:masterClrMapping/>
  </p:clrMapOvr>
  <p:transition spd="slow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361432"/>
      </p:ext>
    </p:extLst>
  </p:cSld>
  <p:clrMapOvr>
    <a:masterClrMapping/>
  </p:clrMapOvr>
  <p:transition spd="slow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28518748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90093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9918409"/>
      </p:ext>
    </p:extLst>
  </p:cSld>
  <p:clrMapOvr>
    <a:masterClrMapping/>
  </p:clrMapOvr>
  <p:transition spd="slow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4792169"/>
      </p:ext>
    </p:extLst>
  </p:cSld>
  <p:clrMapOvr>
    <a:masterClrMapping/>
  </p:clrMapOvr>
  <p:transition spd="slow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1" name="Rectangle 11"/>
          <p:cNvSpPr>
            <a:spLocks noGrp="1" noChangeArrowheads="1"/>
          </p:cNvSpPr>
          <p:nvPr>
            <p:ph type="ctrTitle"/>
          </p:nvPr>
        </p:nvSpPr>
        <p:spPr>
          <a:xfrm>
            <a:off x="684213" y="692151"/>
            <a:ext cx="7847012" cy="1143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Щелчок правит образец заголовка</a:t>
            </a:r>
          </a:p>
        </p:txBody>
      </p:sp>
      <p:sp>
        <p:nvSpPr>
          <p:cNvPr id="5132" name="Rectangle 12"/>
          <p:cNvSpPr>
            <a:spLocks noGrp="1" noChangeArrowheads="1"/>
          </p:cNvSpPr>
          <p:nvPr>
            <p:ph type="subTitle" idx="1"/>
          </p:nvPr>
        </p:nvSpPr>
        <p:spPr>
          <a:xfrm>
            <a:off x="1403350" y="1989139"/>
            <a:ext cx="6400800" cy="746125"/>
          </a:xfrm>
        </p:spPr>
        <p:txBody>
          <a:bodyPr/>
          <a:lstStyle>
            <a:lvl1pPr marL="0" indent="0" algn="ctr">
              <a:buFont typeface="Monotype Sorts" pitchFamily="2" charset="2"/>
              <a:buNone/>
              <a:defRPr sz="2400">
                <a:solidFill>
                  <a:srgbClr val="FFFF00"/>
                </a:solidFill>
                <a:latin typeface="Arial" pitchFamily="34" charset="0"/>
              </a:defRPr>
            </a:lvl1pPr>
          </a:lstStyle>
          <a:p>
            <a:pPr lvl="0"/>
            <a:r>
              <a:rPr lang="ru-RU" noProof="0" smtClean="0"/>
              <a:t>Щелчок правит образец подзаголовка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6054ACB-900A-479A-BF2C-253E401DF7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644149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08C7F65-D304-460E-84F3-0822A227CA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594444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78D508F6-4F36-4BF6-BC7D-DD4BD32E88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524660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916128"/>
            <a:ext cx="3810000" cy="4332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916128"/>
            <a:ext cx="3810000" cy="43322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0691911-BF7F-4E09-A717-3F4720BEDA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060043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117A9DA6-FD18-47A7-9367-7A6B6F1B5F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465194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95C7B084-457A-4E9A-BC3D-99CE1A77D53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07577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DCF33F4-06F9-47A4-A4A5-6EA1A0B077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90408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C6AC6A2E-5DE9-4D3B-80BA-EBDCDAF6AD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242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A42EE-BECA-4726-AF2A-4A3D1213D7C0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CD16BA-DBDC-47E0-A1C6-DF43FB2B2E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0519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13480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4E11ADA8-EF40-4B3A-B68B-66BA6A3179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798694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86CF6749-0D2A-4288-9F45-327FF68037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42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304800"/>
            <a:ext cx="1943100" cy="5943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304800"/>
            <a:ext cx="5676900" cy="5943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5234D304-4DF0-43F8-B441-292E61EBFF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646776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916128"/>
            <a:ext cx="7772400" cy="433228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C405AE9-F563-4A51-A788-33E1DBC7DB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138398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048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85800" y="1916128"/>
            <a:ext cx="7772400" cy="4332287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AECF28E6-2963-48EB-A3DB-5F8E1F9978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512869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7750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22359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8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9014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2554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1252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25209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5896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9822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826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8010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4190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4812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772261"/>
      </p:ext>
    </p:extLst>
  </p:cSld>
  <p:clrMapOvr>
    <a:masterClrMapping/>
  </p:clrMapOvr>
  <p:transition spd="slow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06556552"/>
      </p:ext>
    </p:extLst>
  </p:cSld>
  <p:clrMapOvr>
    <a:masterClrMapping/>
  </p:clrMapOvr>
  <p:transition spd="slow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248726"/>
      </p:ext>
    </p:extLst>
  </p:cSld>
  <p:clrMapOvr>
    <a:masterClrMapping/>
  </p:clrMapOvr>
  <p:transition spd="slow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7259666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05100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54323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5988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77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520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7070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629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5902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4029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3900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27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4481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8826009" y="6323093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spAutoFit/>
          </a:bodyPr>
          <a:lstStyle/>
          <a:p>
            <a:pPr algn="r"/>
            <a:endParaRPr lang="he-IL" sz="1400">
              <a:solidFill>
                <a:srgbClr val="7B7D7C"/>
              </a:solidFill>
            </a:endParaRPr>
          </a:p>
        </p:txBody>
      </p:sp>
      <p:sp>
        <p:nvSpPr>
          <p:cNvPr id="6" name="Rectangle 7"/>
          <p:cNvSpPr>
            <a:spLocks noChangeAspect="1" noChangeArrowheads="1"/>
          </p:cNvSpPr>
          <p:nvPr/>
        </p:nvSpPr>
        <p:spPr bwMode="auto">
          <a:xfrm>
            <a:off x="1588" y="2"/>
            <a:ext cx="647700" cy="6477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srgbClr val="0B87C6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" name="Picture 2" descr="teva logo_grey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4791" y="2"/>
            <a:ext cx="6492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teva logo_grey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4791" y="2"/>
            <a:ext cx="6492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4"/>
          <p:cNvSpPr>
            <a:spLocks noChangeAspect="1" noChangeArrowheads="1"/>
          </p:cNvSpPr>
          <p:nvPr/>
        </p:nvSpPr>
        <p:spPr bwMode="auto">
          <a:xfrm>
            <a:off x="7602538" y="2"/>
            <a:ext cx="863600" cy="647700"/>
          </a:xfrm>
          <a:prstGeom prst="rect">
            <a:avLst/>
          </a:prstGeom>
          <a:solidFill>
            <a:srgbClr val="DDDDDD"/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prstClr val="black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6"/>
          <p:cNvSpPr>
            <a:spLocks noChangeAspect="1" noChangeArrowheads="1"/>
          </p:cNvSpPr>
          <p:nvPr/>
        </p:nvSpPr>
        <p:spPr bwMode="auto">
          <a:xfrm>
            <a:off x="681039" y="2"/>
            <a:ext cx="6889750" cy="6477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prstClr val="black"/>
              </a:solidFill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auto">
          <a:xfrm flipV="1">
            <a:off x="887418" y="6497639"/>
            <a:ext cx="6607175" cy="0"/>
          </a:xfrm>
          <a:prstGeom prst="line">
            <a:avLst/>
          </a:prstGeom>
          <a:noFill/>
          <a:ln w="3175">
            <a:solidFill>
              <a:srgbClr val="9DA09F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pic>
        <p:nvPicPr>
          <p:cNvPr id="12" name="Picture 9" descr="rond_picto.psd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39028" y="-271462"/>
            <a:ext cx="1481137" cy="1158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06401" y="2125131"/>
            <a:ext cx="4601028" cy="3928540"/>
          </a:xfrm>
          <a:prstGeom prst="rect">
            <a:avLst/>
          </a:prstGeom>
        </p:spPr>
        <p:txBody>
          <a:bodyPr wrap="none" numCol="1" spcCol="360000">
            <a:normAutofit/>
          </a:bodyPr>
          <a:lstStyle>
            <a:lvl1pPr marL="0" indent="0">
              <a:buFont typeface="Arial"/>
              <a:buChar char="•"/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406418" y="1524032"/>
            <a:ext cx="7222067" cy="3217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6"/>
          </p:nvPr>
        </p:nvSpPr>
        <p:spPr>
          <a:xfrm>
            <a:off x="5433786" y="2125668"/>
            <a:ext cx="3253014" cy="3927475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7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fld id="{660895BC-4DA4-48D3-833E-2DD7A3C3E16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8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9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fld id="{D8A76029-DD49-4761-BC3B-9EEF521355A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679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61350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955186"/>
      </p:ext>
    </p:extLst>
  </p:cSld>
  <p:clrMapOvr>
    <a:masterClrMapping/>
  </p:clrMapOvr>
  <p:transition spd="slow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4111408"/>
      </p:ext>
    </p:extLst>
  </p:cSld>
  <p:clrMapOvr>
    <a:masterClrMapping/>
  </p:clrMapOvr>
  <p:transition spd="slow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5860788"/>
      </p:ext>
    </p:extLst>
  </p:cSld>
  <p:clrMapOvr>
    <a:masterClrMapping/>
  </p:clrMapOvr>
  <p:transition spd="slow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7957487"/>
      </p:ext>
    </p:extLst>
  </p:cSld>
  <p:clrMapOvr>
    <a:masterClrMapping/>
  </p:clrMapOvr>
  <p:transition spd="slow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0283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82209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5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7575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767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8849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F91F3-F88A-4CEE-BB05-8F68A67EFFF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79604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3334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2004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89948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0237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6720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8784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72"/>
            <a:ext cx="7772400" cy="1470025"/>
          </a:xfrm>
        </p:spPr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28001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8229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98385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3835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4648200" y="1600205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1183711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18342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64594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32308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23513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8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68830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84266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14294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ABA95-5EBB-4F88-BDA9-EA2F1AD72F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BBD86-26C1-4220-9D62-2726FC7028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7940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662A4-BAD1-4155-A842-E54AE44CC4D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0E9923E-6B95-4EF2-B423-DF12634FC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414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DE9CB0D2-C357-45B9-A254-728BABE4660A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2EE6F-FD09-4227-88F1-3BBFFA13B4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349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8826009" y="6323093"/>
            <a:ext cx="184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spAutoFit/>
          </a:bodyPr>
          <a:lstStyle/>
          <a:p>
            <a:pPr algn="r">
              <a:defRPr/>
            </a:pPr>
            <a:endParaRPr lang="he-IL" sz="1400">
              <a:solidFill>
                <a:srgbClr val="7B7D7C"/>
              </a:solidFill>
            </a:endParaRPr>
          </a:p>
        </p:txBody>
      </p:sp>
      <p:sp>
        <p:nvSpPr>
          <p:cNvPr id="6" name="Rectangle 7"/>
          <p:cNvSpPr>
            <a:spLocks noChangeAspect="1" noChangeArrowheads="1"/>
          </p:cNvSpPr>
          <p:nvPr/>
        </p:nvSpPr>
        <p:spPr bwMode="auto">
          <a:xfrm>
            <a:off x="1588" y="2"/>
            <a:ext cx="647700" cy="6477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srgbClr val="0B87C6"/>
              </a:solidFill>
              <a:ea typeface="Arial" charset="0"/>
              <a:cs typeface="Arial" charset="0"/>
            </a:endParaRPr>
          </a:p>
        </p:txBody>
      </p:sp>
      <p:pic>
        <p:nvPicPr>
          <p:cNvPr id="7" name="Picture 2" descr="teva logo_grey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4791" y="2"/>
            <a:ext cx="6492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teva logo_grey"/>
          <p:cNvPicPr preferRelativeResize="0"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94791" y="2"/>
            <a:ext cx="649287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4"/>
          <p:cNvSpPr>
            <a:spLocks noChangeAspect="1" noChangeArrowheads="1"/>
          </p:cNvSpPr>
          <p:nvPr/>
        </p:nvSpPr>
        <p:spPr bwMode="auto">
          <a:xfrm>
            <a:off x="7602538" y="2"/>
            <a:ext cx="863600" cy="647700"/>
          </a:xfrm>
          <a:prstGeom prst="rect">
            <a:avLst/>
          </a:prstGeom>
          <a:solidFill>
            <a:srgbClr val="DDDDDD"/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prstClr val="black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0" name="Rectangle 6"/>
          <p:cNvSpPr>
            <a:spLocks noChangeAspect="1" noChangeArrowheads="1"/>
          </p:cNvSpPr>
          <p:nvPr/>
        </p:nvSpPr>
        <p:spPr bwMode="auto">
          <a:xfrm>
            <a:off x="681039" y="2"/>
            <a:ext cx="6889750" cy="6477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>
              <a:solidFill>
                <a:prstClr val="black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11" name="Line 3"/>
          <p:cNvSpPr>
            <a:spLocks noChangeShapeType="1"/>
          </p:cNvSpPr>
          <p:nvPr/>
        </p:nvSpPr>
        <p:spPr bwMode="auto">
          <a:xfrm flipV="1">
            <a:off x="887418" y="6497639"/>
            <a:ext cx="6607175" cy="0"/>
          </a:xfrm>
          <a:prstGeom prst="line">
            <a:avLst/>
          </a:prstGeom>
          <a:noFill/>
          <a:ln w="3175">
            <a:solidFill>
              <a:srgbClr val="9DA09F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pic>
        <p:nvPicPr>
          <p:cNvPr id="12" name="Picture 9" descr="rond_picto.psd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39028" y="-271462"/>
            <a:ext cx="1481137" cy="1158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06401" y="2125131"/>
            <a:ext cx="4601028" cy="3928540"/>
          </a:xfrm>
          <a:prstGeom prst="rect">
            <a:avLst/>
          </a:prstGeom>
        </p:spPr>
        <p:txBody>
          <a:bodyPr wrap="none" spcCol="360000">
            <a:normAutofit/>
          </a:bodyPr>
          <a:lstStyle>
            <a:lvl1pPr marL="0" indent="0">
              <a:buFont typeface="Arial"/>
              <a:buChar char="•"/>
              <a:defRPr sz="2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406418" y="1524032"/>
            <a:ext cx="7222067" cy="3217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fr-FR" smtClean="0"/>
              <a:t>Click to edit Master text styles</a:t>
            </a:r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6"/>
          </p:nvPr>
        </p:nvSpPr>
        <p:spPr>
          <a:xfrm>
            <a:off x="5433786" y="2125668"/>
            <a:ext cx="3253014" cy="3927475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7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fld id="{F0625BB2-8C0B-41F7-A345-C550B3FAA38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>
                <a:ea typeface="ＭＳ Ｐゴシック" charset="-128"/>
              </a:defRPr>
            </a:lvl1pPr>
          </a:lstStyle>
          <a:p>
            <a:pPr>
              <a:defRPr/>
            </a:pPr>
            <a:fld id="{540CA375-10CD-4579-88FC-697B61CA42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84814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84DCBB40-AC2C-4650-8F60-D9DA82B2DC2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0FD0A0B-056C-4002-9156-47722F4D88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36883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09B24-65B3-4669-8F19-988788F73CA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BE15A-899D-4567-8347-56E9FF594F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8945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E80A6-09D7-435E-B5FB-CBB9F9B6215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DEE6AFD-66EB-4070-B4FE-77031F7EFC35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0346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56432-5994-4FCC-A254-7714C1CEF486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3EFDF-DB5B-4A35-86C3-C3FB84B01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08803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896BFF9-1657-48A3-B853-9D49AEC85E8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E1F944D6-5A13-4FC2-85C1-99BC8F5673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2344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B7203-F9C1-43DD-A2F5-3F0126230FF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97B36-F232-4010-A7D2-8B75B871D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40568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9FD32-4502-4643-AFC8-E8970F7D20F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BA85DA-A3F6-4497-86A1-4DBE4AC126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252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1AE67-5235-4CB9-823E-449476AAC5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9223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3A594-CF42-43AC-A8EB-AED718530F6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A6D2C-67C5-4C7D-B082-224ADC6EAF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00122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09321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309321"/>
                </a:solidFill>
              </a:rPr>
              <a:t>Avène Introduction 11/2000 -International Training Department-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676D5-3655-4161-87AA-3F62D7D862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84632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44606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064500" cy="7191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334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14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ru-RU">
              <a:solidFill>
                <a:srgbClr val="30932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35738" y="6248400"/>
            <a:ext cx="189706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396E4-7E67-4CE8-BCBE-F9822317321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28556319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8011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524000"/>
            <a:ext cx="86106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6F65F-5136-4CF0-A7B3-B309E3E7C77E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2480323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ABA95-5EBB-4F88-BDA9-EA2F1AD72F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BBD86-26C1-4220-9D62-2726FC7028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75256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662A4-BAD1-4155-A842-E54AE44CC4D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0E9923E-6B95-4EF2-B423-DF12634FC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769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DE9CB0D2-C357-45B9-A254-728BABE4660A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2EE6F-FD09-4227-88F1-3BBFFA13B4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52175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84DCBB40-AC2C-4650-8F60-D9DA82B2DC2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0FD0A0B-056C-4002-9156-47722F4D88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15058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09B24-65B3-4669-8F19-988788F73CA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BE15A-899D-4567-8347-56E9FF594F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69439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E80A6-09D7-435E-B5FB-CBB9F9B6215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DEE6AFD-66EB-4070-B4FE-77031F7EFC35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0921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56432-5994-4FCC-A254-7714C1CEF486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3EFDF-DB5B-4A35-86C3-C3FB84B01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17205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896BFF9-1657-48A3-B853-9D49AEC85E8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E1F944D6-5A13-4FC2-85C1-99BC8F5673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798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5970591"/>
            <a:ext cx="9144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9525" y="6053169"/>
            <a:ext cx="2249488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59028" y="6043694"/>
            <a:ext cx="6784975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" name="Дата 27"/>
          <p:cNvSpPr>
            <a:spLocks noGrp="1"/>
          </p:cNvSpPr>
          <p:nvPr>
            <p:ph type="dt" sz="half" idx="10"/>
          </p:nvPr>
        </p:nvSpPr>
        <p:spPr>
          <a:xfrm>
            <a:off x="76200" y="6069013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88E9035-D7D2-4773-87EF-DF0DA6E0665E}" type="datetimeFigureOut">
              <a:rPr lang="en-US"/>
              <a:pPr>
                <a:defRPr/>
              </a:pPr>
              <a:t>3/16/2020</a:t>
            </a:fld>
            <a:endParaRPr lang="en-US"/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085975" y="236544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8BDC42"/>
              </a:solidFill>
            </a:endParaRPr>
          </a:p>
        </p:txBody>
      </p:sp>
      <p:sp>
        <p:nvSpPr>
          <p:cNvPr id="11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FC688CE7-9AB9-4FCF-A9AF-70B84B96C34E}" type="slidenum">
              <a:rPr lang="en-US">
                <a:solidFill>
                  <a:srgbClr val="8BDC4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BDC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3455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B7203-F9C1-43DD-A2F5-3F0126230FF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97B36-F232-4010-A7D2-8B75B871D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90006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9FD32-4502-4643-AFC8-E8970F7D20F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BA85DA-A3F6-4497-86A1-4DBE4AC126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4361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1AE67-5235-4CB9-823E-449476AAC5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24208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3A594-CF42-43AC-A8EB-AED718530F6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A6D2C-67C5-4C7D-B082-224ADC6EAF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23863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09321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309321"/>
                </a:solidFill>
              </a:rPr>
              <a:t>Avène Introduction 11/2000 -International Training Department-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676D5-3655-4161-87AA-3F62D7D862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0180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064500" cy="7191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334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14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ru-RU">
              <a:solidFill>
                <a:srgbClr val="30932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35738" y="6248400"/>
            <a:ext cx="189706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396E4-7E67-4CE8-BCBE-F9822317321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892393632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8011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524000"/>
            <a:ext cx="86106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6F65F-5136-4CF0-A7B3-B309E3E7C77E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3361522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ABA95-5EBB-4F88-BDA9-EA2F1AD72F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BBD86-26C1-4220-9D62-2726FC7028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98224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662A4-BAD1-4155-A842-E54AE44CC4D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0E9923E-6B95-4EF2-B423-DF12634FC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341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DE9CB0D2-C357-45B9-A254-728BABE4660A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2EE6F-FD09-4227-88F1-3BBFFA13B4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5602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1A42EE-BECA-4726-AF2A-4A3D1213D7C0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CD16BA-DBDC-47E0-A1C6-DF43FB2B2E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3103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84DCBB40-AC2C-4650-8F60-D9DA82B2DC2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0FD0A0B-056C-4002-9156-47722F4D88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76103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09B24-65B3-4669-8F19-988788F73CA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BE15A-899D-4567-8347-56E9FF594F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47576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E80A6-09D7-435E-B5FB-CBB9F9B6215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DEE6AFD-66EB-4070-B4FE-77031F7EFC35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65184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56432-5994-4FCC-A254-7714C1CEF486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3EFDF-DB5B-4A35-86C3-C3FB84B01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69689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896BFF9-1657-48A3-B853-9D49AEC85E8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E1F944D6-5A13-4FC2-85C1-99BC8F5673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056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B7203-F9C1-43DD-A2F5-3F0126230FF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97B36-F232-4010-A7D2-8B75B871D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6390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9FD32-4502-4643-AFC8-E8970F7D20F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BA85DA-A3F6-4497-86A1-4DBE4AC126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939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1AE67-5235-4CB9-823E-449476AAC5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04594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3A594-CF42-43AC-A8EB-AED718530F6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A6D2C-67C5-4C7D-B082-224ADC6EAF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23304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09321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309321"/>
                </a:solidFill>
              </a:rPr>
              <a:t>Avène Introduction 11/2000 -International Training Department-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676D5-3655-4161-87AA-3F62D7D862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6861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2" y="2743219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2A65D-B405-4749-B964-DD3FD3C2D22C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9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BBE1DA2-232C-4889-BBAF-9B1735A6C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2862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2" y="2743219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82A65D-B405-4749-B964-DD3FD3C2D22C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9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BBE1DA2-232C-4889-BBAF-9B1735A6C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861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064500" cy="7191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334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14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ru-RU">
              <a:solidFill>
                <a:srgbClr val="30932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35738" y="6248400"/>
            <a:ext cx="189706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396E4-7E67-4CE8-BCBE-F9822317321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60874496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8011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524000"/>
            <a:ext cx="86106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6F65F-5136-4CF0-A7B3-B309E3E7C77E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8181897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ABA95-5EBB-4F88-BDA9-EA2F1AD72F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4BBD86-26C1-4220-9D62-2726FC7028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64040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662A4-BAD1-4155-A842-E54AE44CC4D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0E9923E-6B95-4EF2-B423-DF12634FC6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8877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DE9CB0D2-C357-45B9-A254-728BABE4660A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12EE6F-FD09-4227-88F1-3BBFFA13B4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1269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84DCBB40-AC2C-4650-8F60-D9DA82B2DC2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0FD0A0B-056C-4002-9156-47722F4D88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12854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109B24-65B3-4669-8F19-988788F73CA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6BE15A-899D-4567-8347-56E9FF594F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36333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E80A6-09D7-435E-B5FB-CBB9F9B6215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DEE6AFD-66EB-4070-B4FE-77031F7EFC35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88059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56432-5994-4FCC-A254-7714C1CEF486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3EFDF-DB5B-4A35-86C3-C3FB84B014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900922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896BFF9-1657-48A3-B853-9D49AEC85E8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E1F944D6-5A13-4FC2-85C1-99BC8F5673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608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23769243-FA49-4339-95FE-D5B63C435299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CD79416-1E71-4CF5-8930-9ACC9ED66C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03531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2B7203-F9C1-43DD-A2F5-3F0126230FF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197B36-F232-4010-A7D2-8B75B871D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5759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9FD32-4502-4643-AFC8-E8970F7D20F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BA85DA-A3F6-4497-86A1-4DBE4AC126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516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1AE67-5235-4CB9-823E-449476AAC5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77415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3A594-CF42-43AC-A8EB-AED718530F6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0A6D2C-67C5-4C7D-B082-224ADC6EAF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65460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09321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309321"/>
                </a:solidFill>
              </a:rPr>
              <a:t>Avène Introduction 11/2000 -International Training Department-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C676D5-3655-4161-87AA-3F62D7D862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440164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381000"/>
            <a:ext cx="8064500" cy="7191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334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3962400" cy="4800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>
          <a:xfrm>
            <a:off x="314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ru-RU">
              <a:solidFill>
                <a:srgbClr val="309321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35738" y="6248400"/>
            <a:ext cx="189706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396E4-7E67-4CE8-BCBE-F9822317321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99136818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801100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524000"/>
            <a:ext cx="8610600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6F65F-5136-4CF0-A7B3-B309E3E7C77E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1090576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54316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46360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9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8942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6"/>
            <a:ext cx="8153400" cy="86995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50DE8228-8EB8-475D-B5B3-4F858ED9399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43A17E85-BA40-4A76-A871-989845E80F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417009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13801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394" indent="0">
              <a:buNone/>
              <a:defRPr sz="1800" b="1"/>
            </a:lvl3pPr>
            <a:lvl4pPr marL="1371593" indent="0">
              <a:buNone/>
              <a:defRPr sz="1600" b="1"/>
            </a:lvl4pPr>
            <a:lvl5pPr marL="1828788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3" indent="0">
              <a:buNone/>
              <a:defRPr sz="1600" b="1"/>
            </a:lvl7pPr>
            <a:lvl8pPr marL="3200382" indent="0">
              <a:buNone/>
              <a:defRPr sz="1600" b="1"/>
            </a:lvl8pPr>
            <a:lvl9pPr marL="365757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394" indent="0">
              <a:buNone/>
              <a:defRPr sz="1800" b="1"/>
            </a:lvl3pPr>
            <a:lvl4pPr marL="1371593" indent="0">
              <a:buNone/>
              <a:defRPr sz="1600" b="1"/>
            </a:lvl4pPr>
            <a:lvl5pPr marL="1828788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3" indent="0">
              <a:buNone/>
              <a:defRPr sz="1600" b="1"/>
            </a:lvl7pPr>
            <a:lvl8pPr marL="3200382" indent="0">
              <a:buNone/>
              <a:defRPr sz="1600" b="1"/>
            </a:lvl8pPr>
            <a:lvl9pPr marL="365757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57303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07336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16499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394" indent="0">
              <a:buNone/>
              <a:defRPr sz="1000"/>
            </a:lvl3pPr>
            <a:lvl4pPr marL="1371593" indent="0">
              <a:buNone/>
              <a:defRPr sz="900"/>
            </a:lvl4pPr>
            <a:lvl5pPr marL="1828788" indent="0">
              <a:buNone/>
              <a:defRPr sz="900"/>
            </a:lvl5pPr>
            <a:lvl6pPr marL="2285987" indent="0">
              <a:buNone/>
              <a:defRPr sz="900"/>
            </a:lvl6pPr>
            <a:lvl7pPr marL="2743183" indent="0">
              <a:buNone/>
              <a:defRPr sz="900"/>
            </a:lvl7pPr>
            <a:lvl8pPr marL="3200382" indent="0">
              <a:buNone/>
              <a:defRPr sz="900"/>
            </a:lvl8pPr>
            <a:lvl9pPr marL="365757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85253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394" indent="0">
              <a:buNone/>
              <a:defRPr sz="2400"/>
            </a:lvl3pPr>
            <a:lvl4pPr marL="1371593" indent="0">
              <a:buNone/>
              <a:defRPr sz="2000"/>
            </a:lvl4pPr>
            <a:lvl5pPr marL="1828788" indent="0">
              <a:buNone/>
              <a:defRPr sz="2000"/>
            </a:lvl5pPr>
            <a:lvl6pPr marL="2285987" indent="0">
              <a:buNone/>
              <a:defRPr sz="2000"/>
            </a:lvl6pPr>
            <a:lvl7pPr marL="2743183" indent="0">
              <a:buNone/>
              <a:defRPr sz="2000"/>
            </a:lvl7pPr>
            <a:lvl8pPr marL="3200382" indent="0">
              <a:buNone/>
              <a:defRPr sz="2000"/>
            </a:lvl8pPr>
            <a:lvl9pPr marL="3657577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394" indent="0">
              <a:buNone/>
              <a:defRPr sz="1000"/>
            </a:lvl3pPr>
            <a:lvl4pPr marL="1371593" indent="0">
              <a:buNone/>
              <a:defRPr sz="900"/>
            </a:lvl4pPr>
            <a:lvl5pPr marL="1828788" indent="0">
              <a:buNone/>
              <a:defRPr sz="900"/>
            </a:lvl5pPr>
            <a:lvl6pPr marL="2285987" indent="0">
              <a:buNone/>
              <a:defRPr sz="900"/>
            </a:lvl6pPr>
            <a:lvl7pPr marL="2743183" indent="0">
              <a:buNone/>
              <a:defRPr sz="900"/>
            </a:lvl7pPr>
            <a:lvl8pPr marL="3200382" indent="0">
              <a:buNone/>
              <a:defRPr sz="900"/>
            </a:lvl8pPr>
            <a:lvl9pPr marL="365757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5290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87605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92866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525755-A450-4E5C-9EAB-1C660771C1D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09133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7424C-E95B-4F2D-B8DA-23503EED2BB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7483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2D83B-17D4-4B74-B691-246935ABC47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B1687C-EFD1-493E-BD32-E0AAB012B6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581090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71FA60-BACF-4541-8246-5E6B2D67ACA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574816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B04D4C-5C04-4E6A-BAF5-D0CFBB8F1B8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82458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E8C2C4-68E4-47A2-B8D5-B948F3B1F42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5186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2FE619-9FBF-4BCD-B14C-AAC8CD18EBF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86177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65C8AF-52FC-47FD-9DF9-84EB633BDC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567010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31C6A3-79E7-4965-80AF-D8E66528030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989283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0D369E-B127-40E8-A590-360E38EBBE8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91222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F0FB0E-CDE9-42CB-AF87-72F6E963ED1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4020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491E40-CAD0-493A-BEC6-330B2068EB1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328087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C0ED7BB-96FA-4519-B865-EA4E374FAF9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7507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06708-4546-4C58-948E-752C8BCB4EC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BA24ECB-2916-48EB-B5F0-6D4E4B993C16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86722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D8E96DA-32EF-435C-A396-23AEAA856AF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69836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C978DD6A-693E-44B4-8AC6-6374854D748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97187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E5978D9-7B4F-4196-B577-378AF8ED224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95406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1B456BC-1D4C-47DE-BF89-7873A3C5EF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12450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93A2ACD-F10F-4C00-A47D-426D893569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89469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525755-A450-4E5C-9EAB-1C660771C1D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24365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7424C-E95B-4F2D-B8DA-23503EED2BB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765601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71FA60-BACF-4541-8246-5E6B2D67ACA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19143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B04D4C-5C04-4E6A-BAF5-D0CFBB8F1B8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66446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E8C2C4-68E4-47A2-B8D5-B948F3B1F42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0102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6"/>
            <a:ext cx="8077200" cy="869951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D385F4-84D4-4280-8774-E8E5974B822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86BE8-9196-45CC-B370-5BFF069147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74265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2FE619-9FBF-4BCD-B14C-AAC8CD18EBF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47704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65C8AF-52FC-47FD-9DF9-84EB633BDC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11013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31C6A3-79E7-4965-80AF-D8E66528030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26820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0D369E-B127-40E8-A590-360E38EBBE8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41970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F0FB0E-CDE9-42CB-AF87-72F6E963ED1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35154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491E40-CAD0-493A-BEC6-330B2068EB1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96278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C0ED7BB-96FA-4519-B865-EA4E374FAF9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14011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D8E96DA-32EF-435C-A396-23AEAA856AF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320590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C978DD6A-693E-44B4-8AC6-6374854D748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95021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E5978D9-7B4F-4196-B577-378AF8ED224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4998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32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2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1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37" y="3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32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85486C-436F-497E-BDAE-205715228430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331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C7785D64-08EA-4908-BA29-93F85B71BB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32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79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1B456BC-1D4C-47DE-BF89-7873A3C5EF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34049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93A2ACD-F10F-4C00-A47D-426D893569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915823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525755-A450-4E5C-9EAB-1C660771C1D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29253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B7424C-E95B-4F2D-B8DA-23503EED2BB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71115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471FA60-BACF-4541-8246-5E6B2D67ACA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57837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B04D4C-5C04-4E6A-BAF5-D0CFBB8F1B8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52680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E8C2C4-68E4-47A2-B8D5-B948F3B1F42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3663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2FE619-9FBF-4BCD-B14C-AAC8CD18EBF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915174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65C8AF-52FC-47FD-9DF9-84EB633BDC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47657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F31C6A3-79E7-4965-80AF-D8E66528030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0234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8F268-93DE-4369-91ED-EC79ED624457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06351-443E-47BA-BC09-D24143FEB8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94324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0D369E-B127-40E8-A590-360E38EBBE8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36037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F0FB0E-CDE9-42CB-AF87-72F6E963ED1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38619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491E40-CAD0-493A-BEC6-330B2068EB1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90099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C0ED7BB-96FA-4519-B865-EA4E374FAF9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6738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D8E96DA-32EF-435C-A396-23AEAA856AF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110404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C978DD6A-693E-44B4-8AC6-6374854D748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3341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AE5978D9-7B4F-4196-B577-378AF8ED224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7057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1B456BC-1D4C-47DE-BF89-7873A3C5EF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547164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93A2ACD-F10F-4C00-A47D-426D893569C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45794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17EAECB-9F43-4CD0-898C-6C7D12CFB5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51476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27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9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2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32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ABE721-FBC8-40D4-8F88-004CC42A6C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2" y="6248432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6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45EAB-DFCB-4D45-B15F-2F5DFC15B1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623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E68FAAC-2DD9-447F-B8F9-FEF342219E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519273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D69A556-AF28-417C-968E-D8E61E5E37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711755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5B4F0D3-A97F-466D-B4E7-0EDE1F295A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4308570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96A9F99-A94C-4F43-A9FD-4F739637C6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575442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8684789-EEDA-482E-B603-21378A0F31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943234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D81F7C-6326-49F0-9552-1FEDD1D6B9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850595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AFA1C9A-86F7-4DAB-8F65-D3DDA74358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108229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2AAF3A0-9547-4983-BA64-AF39D4AB40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82869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F61A16-7A95-4D5C-841C-C2F79D0B76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661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A2B0237-EB1F-4A5E-BC93-D60A7A5ED8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2388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17EAECB-9F43-4CD0-898C-6C7D12CFB5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8389409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0"/>
            <a:ext cx="6480720" cy="838200"/>
          </a:xfrm>
        </p:spPr>
        <p:txBody>
          <a:bodyPr/>
          <a:lstStyle>
            <a:lvl1pPr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251520" y="1268759"/>
            <a:ext cx="8640960" cy="5040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>
                <a:solidFill>
                  <a:schemeClr val="tx1"/>
                </a:solidFill>
                <a:latin typeface="+mn-lt"/>
              </a:defRPr>
            </a:lvl4pPr>
            <a:lvl5pPr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3505200" y="6524625"/>
            <a:ext cx="2133600" cy="33337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4A89D521-AF7F-F040-873A-91E81885B196}" type="datetime1">
              <a:rPr lang="en-US"/>
              <a:pPr>
                <a:defRPr/>
              </a:pPr>
              <a:t>3/16/20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524625"/>
            <a:ext cx="2859088" cy="333375"/>
          </a:xfrm>
        </p:spPr>
        <p:txBody>
          <a:bodyPr/>
          <a:lstStyle>
            <a:lvl1pPr algn="l">
              <a:defRPr sz="1100">
                <a:solidFill>
                  <a:srgbClr val="000000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For Internal Use Only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524625"/>
            <a:ext cx="2133600" cy="333375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E19447C-3D0D-4B8B-8217-0999B33CDB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992571"/>
      </p:ext>
    </p:extLst>
  </p:cSld>
  <p:clrMapOvr>
    <a:masterClrMapping/>
  </p:clrMapOvr>
  <p:transition spd="slow"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525171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3304402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8268046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67260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48149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1847108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833376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6484359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Дата 2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1801E58-ADE1-477E-85A4-335F570D55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5180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23769243-FA49-4339-95FE-D5B63C435299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CD79416-1E71-4CF5-8930-9ACC9ED66C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717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E68FAAC-2DD9-447F-B8F9-FEF342219E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768700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Дата 2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5094D20-7995-45B1-819A-CDBEC5D7B6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2076544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985838"/>
            <a:ext cx="9144000" cy="1390650"/>
          </a:xfrm>
          <a:prstGeom prst="rect">
            <a:avLst/>
          </a:prstGeom>
          <a:gradFill rotWithShape="1">
            <a:gsLst>
              <a:gs pos="0">
                <a:srgbClr val="00279F">
                  <a:gamma/>
                  <a:shade val="46275"/>
                  <a:invGamma/>
                </a:srgbClr>
              </a:gs>
              <a:gs pos="100000">
                <a:srgbClr val="00279F"/>
              </a:gs>
            </a:gsLst>
            <a:lin ang="0" scaled="1"/>
          </a:gradFill>
          <a:ln w="1587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3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8300" y="974725"/>
            <a:ext cx="4459288" cy="1470025"/>
          </a:xfrm>
          <a:ln w="9525"/>
        </p:spPr>
        <p:txBody>
          <a:bodyPr lIns="91440" tIns="45720" rIns="91440" bIns="45720" anchor="ctr"/>
          <a:lstStyle>
            <a:lvl1pPr>
              <a:lnSpc>
                <a:spcPts val="4200"/>
              </a:lnSpc>
              <a:tabLst>
                <a:tab pos="2174875" algn="l"/>
              </a:tabLst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39109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52425" y="2654300"/>
            <a:ext cx="4675188" cy="1752600"/>
          </a:xfrm>
          <a:ln w="9525"/>
        </p:spPr>
        <p:txBody>
          <a:bodyPr lIns="91440" tIns="45720" rIns="91440" bIns="45720"/>
          <a:lstStyle>
            <a:lvl1pPr marL="0" indent="0">
              <a:lnSpc>
                <a:spcPts val="3800"/>
              </a:lnSpc>
              <a:buFontTx/>
              <a:buNone/>
              <a:defRPr sz="3400"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786430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708441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9384646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2237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2237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1896026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48536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6062830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23577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11089576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645779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D69A556-AF28-417C-968E-D8E61E5E37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533406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632998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4737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4737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078097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457200" y="1222375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22237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811509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22237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27414454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22375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2305400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473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08567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Заголовок, 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sz="half" idx="1"/>
          </p:nvPr>
        </p:nvSpPr>
        <p:spPr>
          <a:xfrm>
            <a:off x="457200" y="1222375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22237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209309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362950" cy="9715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458913"/>
            <a:ext cx="4133850" cy="47196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43450" y="1458913"/>
            <a:ext cx="4133850" cy="47196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10400" y="6667500"/>
            <a:ext cx="2133600" cy="190500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cs typeface="+mn-cs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9F2128E1-FD8D-4BBA-AC53-5F1049ACDFAB}" type="slidenum">
              <a:rPr lang="en-US" sz="90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263056"/>
      </p:ext>
    </p:extLst>
  </p:cSld>
  <p:clrMapOvr>
    <a:masterClrMapping/>
  </p:clrMapOvr>
  <p:transition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8288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828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624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1265445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897BB1F6-3F85-4FB5-B43B-56784AC64D12}" type="slidenum">
              <a:rPr lang="ru-RU" sz="900">
                <a:solidFill>
                  <a:srgbClr val="FFFFFF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9184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5B4F0D3-A97F-466D-B4E7-0EDE1F295A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35829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F97EBF-5A4D-41EB-BCC8-F57D821B42D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688322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5E254E-2BE1-447B-9B22-4A98C085E85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31478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921220-E608-48FE-B389-B66775566B3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41728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563917-3C9D-47BA-8D1C-7B52D83AD09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712101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BD0719-6D0B-40BC-AD85-E4C43CCA9B9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84782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17658F-9DAF-49AD-AF05-77622E203D7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03004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D18FE7-A4E0-4473-B281-674E990CBE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59689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79F24B-D425-4960-88F9-0AE885411EB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91731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4EB6B8-6CA7-4A2A-91CC-F6A9C993476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052604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14F62D-E2B5-4822-9BB2-807CCB044C9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4617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96A9F99-A94C-4F43-A9FD-4F739637C6A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277706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1422BB-649B-4B2D-A1EA-A0F27E5B833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13567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62F6FF-4737-434D-8900-8856EAB14C5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935578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3C6FCC5-41AC-48C4-8698-7DF81357E73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4178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3D61B36-8107-40B3-A33C-134B369ED03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350133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712381FE-9556-44F4-974F-63FFAA23A2D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774338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637D02A7-00CB-4537-8934-6251A15686E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24313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74EB8BF-8D17-448E-9CCA-A5534041B3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37809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F97EBF-5A4D-41EB-BCC8-F57D821B42D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37086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5E254E-2BE1-447B-9B22-4A98C085E85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06786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921220-E608-48FE-B389-B66775566B3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2301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8684789-EEDA-482E-B603-21378A0F31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6888075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563917-3C9D-47BA-8D1C-7B52D83AD09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100906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BD0719-6D0B-40BC-AD85-E4C43CCA9B9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43129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17658F-9DAF-49AD-AF05-77622E203D7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893931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D18FE7-A4E0-4473-B281-674E990CBE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35698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79F24B-D425-4960-88F9-0AE885411EB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546267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4EB6B8-6CA7-4A2A-91CC-F6A9C993476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13930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14F62D-E2B5-4822-9BB2-807CCB044C9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66768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1422BB-649B-4B2D-A1EA-A0F27E5B833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79080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62F6FF-4737-434D-8900-8856EAB14C5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47315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3C6FCC5-41AC-48C4-8698-7DF81357E73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2454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FD81F7C-6326-49F0-9552-1FEDD1D6B9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483225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3D61B36-8107-40B3-A33C-134B369ED03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643398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712381FE-9556-44F4-974F-63FFAA23A2D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14138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637D02A7-00CB-4537-8934-6251A15686E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902167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74EB8BF-8D17-448E-9CCA-A5534041B3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627284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F97EBF-5A4D-41EB-BCC8-F57D821B42D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061011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5E254E-2BE1-447B-9B22-4A98C085E85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14965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921220-E608-48FE-B389-B66775566B3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34359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563917-3C9D-47BA-8D1C-7B52D83AD09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205325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BD0719-6D0B-40BC-AD85-E4C43CCA9B9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388026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17658F-9DAF-49AD-AF05-77622E203D7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90804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AFA1C9A-86F7-4DAB-8F65-D3DDA74358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112367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D18FE7-A4E0-4473-B281-674E990CBE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828467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79F24B-D425-4960-88F9-0AE885411EB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89337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4EB6B8-6CA7-4A2A-91CC-F6A9C993476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469539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14F62D-E2B5-4822-9BB2-807CCB044C9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26177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1422BB-649B-4B2D-A1EA-A0F27E5B833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50466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62F6FF-4737-434D-8900-8856EAB14C5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592723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3C6FCC5-41AC-48C4-8698-7DF81357E73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14793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3D61B36-8107-40B3-A33C-134B369ED03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219647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712381FE-9556-44F4-974F-63FFAA23A2D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525043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637D02A7-00CB-4537-8934-6251A15686E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4963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2AAF3A0-9547-4983-BA64-AF39D4AB40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6635495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74EB8BF-8D17-448E-9CCA-A5534041B3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632051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F97EBF-5A4D-41EB-BCC8-F57D821B42D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4824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5E254E-2BE1-447B-9B22-4A98C085E85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43416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C921220-E608-48FE-B389-B66775566B3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289605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563917-3C9D-47BA-8D1C-7B52D83AD09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962401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BD0719-6D0B-40BC-AD85-E4C43CCA9B95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75388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17658F-9DAF-49AD-AF05-77622E203D7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900874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D18FE7-A4E0-4473-B281-674E990CBE69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30098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79F24B-D425-4960-88F9-0AE885411EB3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84052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4EB6B8-6CA7-4A2A-91CC-F6A9C993476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2540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F61A16-7A95-4D5C-841C-C2F79D0B76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5805064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14F62D-E2B5-4822-9BB2-807CCB044C9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99957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1422BB-649B-4B2D-A1EA-A0F27E5B833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47454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762F6FF-4737-434D-8900-8856EAB14C5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005679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3C6FCC5-41AC-48C4-8698-7DF81357E73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09032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3D61B36-8107-40B3-A33C-134B369ED03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077061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712381FE-9556-44F4-974F-63FFAA23A2D8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07721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637D02A7-00CB-4537-8934-6251A15686EF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322019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74EB8BF-8D17-448E-9CCA-A5534041B3E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06743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A2FEE72-78F8-4547-B456-92E96A31B18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9208762"/>
      </p:ext>
    </p:extLst>
  </p:cSld>
  <p:clrMapOvr>
    <a:masterClrMapping/>
  </p:clrMapOvr>
  <p:transition spd="slow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BCE3546-93C4-4E86-9AA2-67B3FCD5DD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2612573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A2B0237-EB1F-4A5E-BC93-D60A7A5ED8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0307305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3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9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0D14FD0-BC93-4BE7-BF8F-DCBFFB4E4C5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3921596"/>
      </p:ext>
    </p:extLst>
  </p:cSld>
  <p:clrMapOvr>
    <a:masterClrMapping/>
  </p:clrMapOvr>
  <p:transition spd="slow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4"/>
            <a:ext cx="3886200" cy="4351339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2ECE16B-F50B-4BCE-B6C7-6DD0527174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4990738"/>
      </p:ext>
    </p:extLst>
  </p:cSld>
  <p:clrMapOvr>
    <a:masterClrMapping/>
  </p:clrMapOvr>
  <p:transition spd="slow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7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7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67C5C2A-433A-4259-97C8-28D0E64DF69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50132576"/>
      </p:ext>
    </p:extLst>
  </p:cSld>
  <p:clrMapOvr>
    <a:masterClrMapping/>
  </p:clrMapOvr>
  <p:transition spd="slow"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8D61215-C179-4AA9-BD70-1CF0B55C032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8500748"/>
      </p:ext>
    </p:extLst>
  </p:cSld>
  <p:clrMapOvr>
    <a:masterClrMapping/>
  </p:clrMapOvr>
  <p:transition spd="slow"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387335"/>
      </p:ext>
    </p:extLst>
  </p:cSld>
  <p:clrMapOvr>
    <a:masterClrMapping/>
  </p:clrMapOvr>
  <p:transition spd="slow">
    <p:fade/>
  </p:transition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31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F8849AB-C181-4B8F-ABEF-5F594154B16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97922094"/>
      </p:ext>
    </p:extLst>
  </p:cSld>
  <p:clrMapOvr>
    <a:masterClrMapping/>
  </p:clrMapOvr>
  <p:transition spd="slow"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31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2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978FD3F-7A05-4458-809E-D836C499B0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42196128"/>
      </p:ext>
    </p:extLst>
  </p:cSld>
  <p:clrMapOvr>
    <a:masterClrMapping/>
  </p:clrMapOvr>
  <p:transition spd="slow"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BB9EAF8-9EBE-4A47-82C9-07B1C4CDBCF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8150048"/>
      </p:ext>
    </p:extLst>
  </p:cSld>
  <p:clrMapOvr>
    <a:masterClrMapping/>
  </p:clrMapOvr>
  <p:transition spd="slow"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4"/>
            <a:ext cx="1971675" cy="5811839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3" y="365124"/>
            <a:ext cx="5800725" cy="5811839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A6C9906-93E2-42DD-AB17-08FC4065497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17382016"/>
      </p:ext>
    </p:extLst>
  </p:cSld>
  <p:clrMapOvr>
    <a:masterClrMapping/>
  </p:clrMapOvr>
  <p:transition spd="slow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359679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6"/>
            <a:ext cx="8153400" cy="86995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50DE8228-8EB8-475D-B5B3-4F858ED9399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43A17E85-BA40-4A76-A871-989845E80F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1078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0"/>
            <a:ext cx="6480720" cy="838200"/>
          </a:xfrm>
        </p:spPr>
        <p:txBody>
          <a:bodyPr/>
          <a:lstStyle>
            <a:lvl1pPr>
              <a:defRPr sz="28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 bwMode="auto">
          <a:xfrm>
            <a:off x="251520" y="1268767"/>
            <a:ext cx="8640960" cy="5040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600">
                <a:solidFill>
                  <a:schemeClr val="tx1"/>
                </a:solidFill>
                <a:latin typeface="+mn-lt"/>
              </a:defRPr>
            </a:lvl3pPr>
            <a:lvl4pPr>
              <a:defRPr sz="1400">
                <a:solidFill>
                  <a:schemeClr val="tx1"/>
                </a:solidFill>
                <a:latin typeface="+mn-lt"/>
              </a:defRPr>
            </a:lvl4pPr>
            <a:lvl5pPr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3505200" y="6524706"/>
            <a:ext cx="2133600" cy="33337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rgbClr val="00000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fld id="{4A89D521-AF7F-F040-873A-91E81885B196}" type="datetime1">
              <a:rPr lang="en-US"/>
              <a:pPr>
                <a:defRPr/>
              </a:pPr>
              <a:t>3/16/2020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524706"/>
            <a:ext cx="2859088" cy="333375"/>
          </a:xfrm>
        </p:spPr>
        <p:txBody>
          <a:bodyPr/>
          <a:lstStyle>
            <a:lvl1pPr algn="l">
              <a:defRPr sz="1100">
                <a:solidFill>
                  <a:srgbClr val="000000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For Internal Use Only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524706"/>
            <a:ext cx="2133600" cy="333375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E19447C-3D0D-4B8B-8217-0999B33CDB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772725"/>
      </p:ext>
    </p:extLst>
  </p:cSld>
  <p:clrMapOvr>
    <a:masterClrMapping/>
  </p:clrMapOvr>
  <p:transition spd="slow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76389444"/>
      </p:ext>
    </p:extLst>
  </p:cSld>
  <p:clrMapOvr>
    <a:masterClrMapping/>
  </p:clrMapOvr>
  <p:transition spd="slow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1757860"/>
      </p:ext>
    </p:extLst>
  </p:cSld>
  <p:clrMapOvr>
    <a:masterClrMapping/>
  </p:clrMapOvr>
  <p:transition spd="slow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2772902"/>
      </p:ext>
    </p:extLst>
  </p:cSld>
  <p:clrMapOvr>
    <a:masterClrMapping/>
  </p:clrMapOvr>
  <p:transition spd="slow"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918862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605135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2011975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187173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58278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442906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8494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2326062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59111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0280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3790801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443133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54914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403161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742288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1276812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637302-C822-4C0B-A02B-689764D04B36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3475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9C9E5-AF38-4C44-B83D-66CF3F3102CB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4832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640740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EB4067-36B7-43B6-A73A-8B7224F08B2B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7059200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82B88-1F2D-4CF8-964D-BD614C0D82C5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431183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C520D-A8AC-449F-87CD-A4803D59E705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903442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44601E-E46D-4CAC-823F-C7DC86BAE285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955180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F1FC5-DF69-40D0-A813-19AC13C38E57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890660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53C5AE-CEB6-40F1-A0A6-108EB0745FDB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6508255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E7BFC-CC1E-4B00-AF4F-F12A06ED159B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985881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473640-A586-42E7-8831-F41F4C51C831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260578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404C41-E0FC-4D94-B677-60EE2393ED19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18622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noProof="0" smtClean="0"/>
              <a:t>Вставка картинки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3E4BD5-4EF4-4804-BBE4-E976E75289C3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2089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1141946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987BF3-35AB-43FA-8E18-A959ADA31CAC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1382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263004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184456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7945996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227805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814055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422256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425719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750215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41889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1100165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559344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987437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8366877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1"/>
            <a:ext cx="8416800" cy="310659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01140867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045274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82721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710464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586173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2408676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7009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3197659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220825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161086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474647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591608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8765938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438722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480929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457811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8885306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348517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0047389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18513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07558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142614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439803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14754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013316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7299605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2939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0242940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5725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0626613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2FA9067-DE46-4BDC-8840-ABEF20E1C291}" type="datetimeFigureOut">
              <a:rPr lang="ru-RU" smtClean="0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 smtClean="0">
                <a:solidFill>
                  <a:prstClr val="black">
                    <a:tint val="75000"/>
                  </a:prstClr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139310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5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903767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2262421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9753467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5970588"/>
            <a:ext cx="9144000" cy="88741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9525" y="6053138"/>
            <a:ext cx="2249488" cy="7127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359025" y="6043613"/>
            <a:ext cx="6784975" cy="714375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" name="Дата 27"/>
          <p:cNvSpPr>
            <a:spLocks noGrp="1"/>
          </p:cNvSpPr>
          <p:nvPr>
            <p:ph type="dt" sz="half" idx="10"/>
          </p:nvPr>
        </p:nvSpPr>
        <p:spPr>
          <a:xfrm>
            <a:off x="76200" y="6069013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D6A5E9C7-D128-4AF2-A6DF-B5ACF8C10540}" type="datetimeFigureOut">
              <a:rPr lang="en-US"/>
              <a:pPr>
                <a:defRPr/>
              </a:pPr>
              <a:t>3/16/2020</a:t>
            </a:fld>
            <a:endParaRPr lang="en-US"/>
          </a:p>
        </p:txBody>
      </p:sp>
      <p:sp>
        <p:nvSpPr>
          <p:cNvPr id="10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085975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8BDC42"/>
              </a:solidFill>
            </a:endParaRPr>
          </a:p>
        </p:txBody>
      </p:sp>
      <p:sp>
        <p:nvSpPr>
          <p:cNvPr id="11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B9F034-DE0E-42D1-8825-B8E43392E7AF}" type="slidenum">
              <a:rPr lang="en-US">
                <a:solidFill>
                  <a:srgbClr val="8BDC42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BDC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829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0E4663-5C03-417E-9CC7-57B6A19B994C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3DE6A-7500-4C4F-97CB-EB295774CF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451224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7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5DC5C-D17B-445C-A1F1-CC357F6D26C8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5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2B6F858-4CE0-475B-A6B1-A71C37FBC2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7200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7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1ABA8A1E-6C0A-4308-856D-181B94804F05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9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EEE2346-4E27-4000-9CFB-D17F4315880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Нижний колонтитул 11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470820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9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CD41EB51-F408-40E4-B02B-4BA555581733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омер слайда 11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B3784729-59CD-4A92-A1FF-C7D32AE98F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246881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9AE286-D5A7-447E-AC1B-1B7AE4E9B387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3C4D06-31BE-404F-91D7-46E779D1AF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8703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Дата 2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1801E58-ADE1-477E-85A4-335F570D55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6771678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FD276-6353-4352-95F5-74ECDBE32A75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52D4DA7-BDEF-49D6-B5C7-FE2A71AADC0C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52195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8EB32B-4BCE-401C-AA9B-62A2D8ED063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D80AF4-0E2E-4F59-BF66-923BEC746D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356651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00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5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0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00" y="0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EA0B85CD-F14E-42AA-BA70-6246FC652852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50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67C5B6EB-6853-4D52-97FF-49F8313DE8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00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928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F3545-80EC-4043-B46B-37F91A75852E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7AA94-AE25-4ED5-A94E-8B86D7C0B1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586191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white">
          <a:xfrm>
            <a:off x="6096000" y="0"/>
            <a:ext cx="320675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0"/>
            <a:ext cx="2209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8F1A7-3A4A-46F7-A030-A1BB800E2499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0" y="6248400"/>
            <a:ext cx="5573713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7E6570-58AF-4501-95BA-BE9FBCB055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61670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1157288" y="1344613"/>
            <a:ext cx="63500" cy="65087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C6046-3126-4F82-8019-F7FF5A05C62A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7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03671E96-35AE-4317-A203-D460643A4BA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12494347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9689A4-B7D0-4E70-93AE-CCE7C7B58791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D2BB2F2-E489-4D26-877F-DC8B21BC5C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89795535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2825" y="0"/>
            <a:ext cx="68580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invGray">
          <a:xfrm>
            <a:off x="2286000" y="0"/>
            <a:ext cx="762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408238" y="2746375"/>
            <a:ext cx="63500" cy="63500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E4BA67-4018-4850-87DD-DEA1A4C3C79D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BD1EF3F-25F8-43A6-8566-53F4303332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7377953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BDD0D5-9E74-4C85-B985-3A124A71938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16CAD61-5164-4E81-985D-8C9B2D1036E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8333473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/>
          <a:lstStyle>
            <a:lvl1pPr algn="ctr">
              <a:defRPr sz="4500" b="1" cap="none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DA8552-8C98-412B-89C3-E829DD3FE4B4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407C06A-3CA2-4DD5-80F7-63AFA66020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505888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5"/>
            <a:ext cx="8229600" cy="4525963"/>
          </a:xfrm>
        </p:spPr>
        <p:txBody>
          <a:bodyPr rtlCol="0">
            <a:normAutofit/>
          </a:bodyPr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Дата 2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5094D20-7995-45B1-819A-CDBEC5D7B6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8886805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019B8D-61F2-4BED-A5C7-71DB2B8038AD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C5C3CFD-0EA7-4E06-BC0E-CFA1D8279B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9704234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14413" y="0"/>
            <a:ext cx="8129587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invGray">
          <a:xfrm>
            <a:off x="1014413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609EDC-FB41-4410-A633-5560E268E2BF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AF91AA66-6425-488D-B408-ADEA0B34581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52519631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00E23D-12E6-4FBD-9469-4A97C34608A2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1AA71160-31AA-4A9B-A0BC-3563D5A054D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0550653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tIns="274320">
            <a:normAutofit/>
          </a:bodyPr>
          <a:lstStyle/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  <a:defRPr/>
            </a:pPr>
            <a:endParaRPr lang="en-US" sz="320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Блок-схема: процесс 5"/>
          <p:cNvSpPr/>
          <p:nvPr/>
        </p:nvSpPr>
        <p:spPr>
          <a:xfrm rot="19468671">
            <a:off x="396875" y="954088"/>
            <a:ext cx="685800" cy="204787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 rot="2103354" flipH="1">
            <a:off x="5003800" y="936625"/>
            <a:ext cx="649288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05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tIns="274320">
            <a:normAutofit/>
          </a:bodyPr>
          <a:lstStyle>
            <a:lvl1pPr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D0258-1DC6-4C69-9E02-0D4A615CDBC4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78248AA-E812-4B80-BEA9-4BDCF41CA67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27912948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6D4885-82C1-4F7A-A55E-097A96D5C1A6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DEF5621-C202-4045-BA97-F67F204A209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92091380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43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3"/>
            <a:ext cx="55626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806642-3A4B-4708-882C-C3A8FB5E1218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F4F75096-2CEF-4BCE-A063-B4C343F245B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1228770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088" y="6462713"/>
            <a:ext cx="395287" cy="215900"/>
          </a:xfrm>
        </p:spPr>
        <p:txBody>
          <a:bodyPr lIns="0" tIns="0" rIns="0" bIns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b="1">
                <a:solidFill>
                  <a:prstClr val="black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fld id="{76818122-B458-4391-9715-866CF1488EFA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198669503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0"/>
            <a:ext cx="8416800" cy="310658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8577854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804384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809B719-63B0-4D07-B380-AD3F5E08126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26326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2D83B-17D4-4B74-B691-246935ABC47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B1687C-EFD1-493E-BD32-E0AAB012B6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0861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50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3F84141-CC46-4E5B-A10C-C507A4A9BE8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166EC86-3CA4-49BE-81F6-6C7C59D340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1139430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8873992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4600" y="381000"/>
            <a:ext cx="64008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143000" y="1600200"/>
            <a:ext cx="38100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5105400" y="1600200"/>
            <a:ext cx="3810000" cy="4495800"/>
          </a:xfrm>
        </p:spPr>
        <p:txBody>
          <a:bodyPr/>
          <a:lstStyle/>
          <a:p>
            <a:pPr lvl="0"/>
            <a:r>
              <a:rPr lang="ru-RU" noProof="0" smtClean="0"/>
              <a:t>Вставка картинки</a:t>
            </a:r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1430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581400" y="64008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10400" y="6400800"/>
            <a:ext cx="1905000" cy="45720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3650077-D969-450E-A8DC-810E6C14F1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7691472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5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DB22D54-C393-4B68-9330-4D0D1D7C1A0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040C2C0-5A86-4823-9208-100273E981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0067479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F5111C4-5D73-4ACE-B230-C5E3B05B6EA8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B546295-0799-4F49-BF22-703E940F4B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10697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2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7004EA9C-7926-44FD-89A3-96AA2D8FA845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62E9ECC-9590-4B19-8E63-E11D864CF7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17329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E6BE3C0-4B74-46A5-8572-C22F95244F2D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85BE449A-2B0D-4AF7-8223-5CC0DADF81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346339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A777A08-BBC7-4B9B-9A4C-F26EB53975A8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9A945E84-ED29-462D-9ADA-2E3A67C33C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1409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B1C179C4-29E5-4E3E-95FD-B2403AEAC46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702A7F5-3765-4E3A-853C-27F95C7CB7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006361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C6786C63-AEB3-423F-AD4C-8DE9F46FCC0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5D5D355-5306-4012-BFFB-34D6BEE1B8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653071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6E68445-D10A-420A-BE68-28384E580B4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6BE2B6C8-9637-4C57-B5EF-71CF724AB0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24066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23F0E3D0-332F-4CFD-8E29-1102676CF8A6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B7F49E36-B1E4-4645-A4C8-3BDC61C33B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0109897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34261DE-E972-4DEC-9685-6B81FFCBC172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F0FCCD9-C8F4-40BA-AA07-A3641C84E0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9694687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3CA80698-B1CC-4D65-8B13-B1A319DCDB76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4F1C610B-B9DF-43F5-A9E7-6858058E6C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2009454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85DC563-6F04-40FB-8C96-8EAFED472A23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50DB8B2D-277E-44B2-84A4-3E14BC32FB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2518120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2F07449B-216B-49DC-B02A-E2408A483BE3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D6214149-EF22-45C6-8B85-7276FA27A3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9119527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 dirty="0"/>
          </a:p>
        </p:txBody>
      </p:sp>
      <p:sp>
        <p:nvSpPr>
          <p:cNvPr id="6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+mn-cs"/>
              </a:defRPr>
            </a:lvl1pPr>
          </a:lstStyle>
          <a:p>
            <a:pPr>
              <a:defRPr/>
            </a:pPr>
            <a:fld id="{EB076587-F109-491C-842C-2876CB48375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0738853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628650" y="6176989"/>
            <a:ext cx="7886700" cy="681037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400" b="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23662632"/>
      </p:ext>
    </p:extLst>
  </p:cSld>
  <p:clrMapOvr>
    <a:masterClrMapping/>
  </p:clrMapOvr>
  <p:transition spd="slow">
    <p:fade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5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9BB2C9-1415-40C0-9CC9-FB5D28E5EF3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FE0D6-9780-410C-BE8D-9EA6D56A3D5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959878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A4088F-F647-4E0F-911D-973BB75088A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3460B6-4901-42CE-BB86-E89C61E5E73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201941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88918A-E019-4E4C-A999-25927E09714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64AAF0-9E92-414C-82D5-FA712B71BFD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552636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C63C0-A497-4671-AF8B-67A73CEB57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BED66-1E99-446B-823B-0BCD1CA4CA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48753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AE8431D6-2AA5-449A-B8A4-534EB6255C88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D528F83-65CB-4E6B-B933-E803FF0932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276770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E0E57-EB4C-4395-929B-B46AEA9EBE6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0CBAF-71FC-428B-89FE-3B504D72B84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63029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D928E0-0B15-414C-93A1-8E45AD9D2EA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EE34E-78F1-4B16-BAD7-45B792B6A67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604170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A44235-6D45-44DA-83E7-AE7495D1E09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FFCB23-90B9-438C-8EAA-7FF7E7A8278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779161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083A3F-76C0-4B96-B6FF-119EF1290B4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C1A40-9C3A-434C-89E3-5C8ADE524D4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943792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29ED48-7309-448B-9EF7-605B1E42855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580BB-EBDD-41B4-ADFD-5EDA0A72E6C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51941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5225B-3C34-48EE-928B-F0BA7956C56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4FD34-0684-4AB8-947F-DCC2E826A9B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585550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483D3-0BA1-4B63-AD7A-65A178CEE60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08CBF7-DDAE-4021-A57B-830D82FEE2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11175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5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9BB2C9-1415-40C0-9CC9-FB5D28E5EF3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FE0D6-9780-410C-BE8D-9EA6D56A3D5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97833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A4088F-F647-4E0F-911D-973BB75088AA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3460B6-4901-42CE-BB86-E89C61E5E73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33050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88918A-E019-4E4C-A999-25927E09714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64AAF0-9E92-414C-82D5-FA712B71BFD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9050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2BC594E0-7F34-4FEB-BAEB-BEB14821E7F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E9F7EA9-67C5-435F-9174-1440BFFBDF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8688828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C63C0-A497-4671-AF8B-67A73CEB57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8BED66-1E99-446B-823B-0BCD1CA4CA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825486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E0E57-EB4C-4395-929B-B46AEA9EBE6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0CBAF-71FC-428B-89FE-3B504D72B84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33416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D928E0-0B15-414C-93A1-8E45AD9D2EA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EE34E-78F1-4B16-BAD7-45B792B6A67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32222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A44235-6D45-44DA-83E7-AE7495D1E09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FFCB23-90B9-438C-8EAA-7FF7E7A8278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52904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083A3F-76C0-4B96-B6FF-119EF1290B4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C1A40-9C3A-434C-89E3-5C8ADE524D4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352796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29ED48-7309-448B-9EF7-605B1E42855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580BB-EBDD-41B4-ADFD-5EDA0A72E6C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695355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5225B-3C34-48EE-928B-F0BA7956C56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74FD34-0684-4AB8-947F-DCC2E826A9B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723042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E483D3-0BA1-4B63-AD7A-65A178CEE60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08CBF7-DDAE-4021-A57B-830D82FEE2C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521056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9FFBB-EC6C-4527-9D70-D87EDE34C4E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D5BF46-0E63-42C0-928C-DA1E8CB612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296011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13E92-4AD3-490E-83E1-526E1C33FAC5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4AE499-2978-49BE-9F5B-7AC998A6BC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642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20976EF-F320-4824-A17B-720B39EC616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066BF781-5307-4B26-AAC7-64E74B3C90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70657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B05CF-8260-4136-AF1B-015D9593F03E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60820-81A1-419D-BE0A-BC8B908FA8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164746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13B95E-B784-4C75-856B-B254917B27F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8CB17D-BBDB-4119-BF23-DF3ECAB7E9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0803948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3E5E89-A82B-470F-B6F5-5FF68379BA1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70DC31-E0F9-4E71-B7FF-4D8A4EFBD1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1833698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243A65-D882-4150-8D22-0AB6385835DE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E7DCA-FF1A-4AAC-9559-56BA7B6E72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98864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000AFD-3FC2-4C0D-8D4F-894516742D44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7EDC-1200-45FB-9707-A03D182C2E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20402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945868-9012-4E90-A868-98EEA55B249C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C6A725-3AD6-417C-9491-95ECD025E8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729455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3054D1-78B3-40EA-ABA2-21B0A2780D93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14AC0F-A662-4C52-A914-E04D9EDDA9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2674807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9C65CF-C9B1-44B0-A815-A19B5B397DAA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7D755-D240-4001-BFEC-8D7F3C3D86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243083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20A5A7-E3DD-490C-A82E-CCC630F15735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769F1E-0DDC-406F-A501-68C704DE4F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5451740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ChangeArrowheads="1"/>
          </p:cNvSpPr>
          <p:nvPr userDrawn="1"/>
        </p:nvSpPr>
        <p:spPr bwMode="auto">
          <a:xfrm>
            <a:off x="7632700" y="6642100"/>
            <a:ext cx="15113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800" smtClean="0">
                <a:solidFill>
                  <a:prstClr val="black"/>
                </a:solidFill>
                <a:cs typeface="Arial" pitchFamily="34" charset="0"/>
              </a:rPr>
              <a:t>PUL_</a:t>
            </a:r>
            <a:r>
              <a:rPr lang="ru-RU" altLang="ru-RU" sz="800" smtClean="0">
                <a:solidFill>
                  <a:prstClr val="black"/>
                </a:solidFill>
                <a:cs typeface="Arial" pitchFamily="34" charset="0"/>
              </a:rPr>
              <a:t>397</a:t>
            </a:r>
            <a:r>
              <a:rPr lang="en-US" altLang="ru-RU" sz="80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  <a:cs typeface="Arial" pitchFamily="34" charset="0"/>
              </a:rPr>
              <a:t>803</a:t>
            </a:r>
            <a:r>
              <a:rPr lang="en-US" altLang="ru-RU" sz="80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altLang="ru-RU" sz="800" smtClean="0">
                <a:solidFill>
                  <a:prstClr val="black"/>
                </a:solidFill>
                <a:cs typeface="Arial" pitchFamily="34" charset="0"/>
              </a:rPr>
              <a:t>011</a:t>
            </a:r>
            <a:r>
              <a:rPr lang="en-US" altLang="ru-RU" sz="800" smtClean="0">
                <a:solidFill>
                  <a:prstClr val="black"/>
                </a:solidFill>
                <a:cs typeface="Arial" pitchFamily="34" charset="0"/>
              </a:rPr>
              <a:t>_</a:t>
            </a:r>
            <a:r>
              <a:rPr lang="ru-RU" altLang="ru-RU" sz="800" smtClean="0">
                <a:solidFill>
                  <a:prstClr val="black"/>
                </a:solidFill>
                <a:cs typeface="Arial" pitchFamily="34" charset="0"/>
              </a:rPr>
              <a:t>01/10/14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 dirty="0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E49B9B-F1B5-40D7-97DA-6F8A04449938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10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94243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A48B787-5E2E-43CE-A12D-406DC9FE8C9B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D6EA42F4-386E-4626-ABD9-37613C556D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2210097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3" y="192000"/>
            <a:ext cx="8765651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088" y="6462713"/>
            <a:ext cx="395287" cy="215900"/>
          </a:xfrm>
        </p:spPr>
        <p:txBody>
          <a:bodyPr lIns="0" tIns="0" rIns="0" bIns="0" anchor="t" anchorCtr="0"/>
          <a:lstStyle>
            <a:lvl1pPr algn="l">
              <a:defRPr sz="800" b="1">
                <a:solidFill>
                  <a:prstClr val="blac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7EF790C-1A21-4712-817F-81C677159C1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4264844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08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9"/>
          <p:cNvGrpSpPr>
            <a:grpSpLocks/>
          </p:cNvGrpSpPr>
          <p:nvPr userDrawn="1"/>
        </p:nvGrpSpPr>
        <p:grpSpPr bwMode="auto">
          <a:xfrm>
            <a:off x="-136525" y="-136525"/>
            <a:ext cx="9417050" cy="7131050"/>
            <a:chOff x="-137160" y="-137160"/>
            <a:chExt cx="9418320" cy="7132320"/>
          </a:xfrm>
        </p:grpSpPr>
        <p:cxnSp>
          <p:nvCxnSpPr>
            <p:cNvPr id="7" name="Straight Connector 21"/>
            <p:cNvCxnSpPr/>
            <p:nvPr userDrawn="1"/>
          </p:nvCxnSpPr>
          <p:spPr>
            <a:xfrm flipV="1">
              <a:off x="1509300" y="-137160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22"/>
            <p:cNvCxnSpPr/>
            <p:nvPr userDrawn="1"/>
          </p:nvCxnSpPr>
          <p:spPr>
            <a:xfrm flipV="1">
              <a:off x="8458724" y="-137160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23"/>
            <p:cNvCxnSpPr/>
            <p:nvPr userDrawn="1"/>
          </p:nvCxnSpPr>
          <p:spPr>
            <a:xfrm flipV="1">
              <a:off x="1509300" y="6903069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26"/>
            <p:cNvCxnSpPr/>
            <p:nvPr userDrawn="1"/>
          </p:nvCxnSpPr>
          <p:spPr>
            <a:xfrm flipV="1">
              <a:off x="8458724" y="6903069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7"/>
            <p:cNvCxnSpPr/>
            <p:nvPr userDrawn="1"/>
          </p:nvCxnSpPr>
          <p:spPr>
            <a:xfrm flipV="1">
              <a:off x="1966562" y="-137160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28"/>
            <p:cNvCxnSpPr/>
            <p:nvPr userDrawn="1"/>
          </p:nvCxnSpPr>
          <p:spPr>
            <a:xfrm flipV="1">
              <a:off x="1966562" y="6903069"/>
              <a:ext cx="0" cy="92091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29"/>
            <p:cNvCxnSpPr/>
            <p:nvPr userDrawn="1"/>
          </p:nvCxnSpPr>
          <p:spPr>
            <a:xfrm>
              <a:off x="9189073" y="1691966"/>
              <a:ext cx="92087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30"/>
            <p:cNvCxnSpPr/>
            <p:nvPr userDrawn="1"/>
          </p:nvCxnSpPr>
          <p:spPr>
            <a:xfrm>
              <a:off x="-137160" y="1691966"/>
              <a:ext cx="92087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31"/>
            <p:cNvCxnSpPr/>
            <p:nvPr userDrawn="1"/>
          </p:nvCxnSpPr>
          <p:spPr>
            <a:xfrm>
              <a:off x="9189073" y="913952"/>
              <a:ext cx="92087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32"/>
            <p:cNvCxnSpPr/>
            <p:nvPr userDrawn="1"/>
          </p:nvCxnSpPr>
          <p:spPr>
            <a:xfrm>
              <a:off x="-137160" y="913952"/>
              <a:ext cx="92087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1013" y="6265863"/>
            <a:ext cx="1646237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/>
          </p:nvPr>
        </p:nvSpPr>
        <p:spPr bwMode="gray">
          <a:xfrm>
            <a:off x="0" y="914400"/>
            <a:ext cx="1965960" cy="777240"/>
          </a:xfrm>
          <a:solidFill>
            <a:schemeClr val="accent1"/>
          </a:solidFill>
        </p:spPr>
        <p:txBody>
          <a:bodyPr lIns="274320" tIns="91440" bIns="91440" anchor="ctr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1666219"/>
      </p:ext>
    </p:extLst>
  </p:cSld>
  <p:clrMapOvr>
    <a:masterClrMapping/>
  </p:clrMapOvr>
  <p:hf hdr="0" dt="0"/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>
            <a:normAutofit/>
          </a:bodyPr>
          <a:lstStyle>
            <a:lvl1pPr algn="ctr">
              <a:defRPr sz="5400" b="1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1C380D22-CD5F-498E-B881-8606C7C18C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CEBAC40-30D4-4CC9-92C5-851D7C68A5A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6898110"/>
      </p:ext>
    </p:extLst>
  </p:cSld>
  <p:clrMapOvr>
    <a:masterClrMapping/>
  </p:clrMapOvr>
  <p:transition spd="slow">
    <p:fade/>
  </p:transition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Натив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9C952022-9445-4151-9CB5-523F62C842A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85A7E09-62C3-4CEE-A9E5-0AB3F40678D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0673101"/>
      </p:ext>
    </p:extLst>
  </p:cSld>
  <p:clrMapOvr>
    <a:masterClrMapping/>
  </p:clrMapOvr>
  <p:transition spd="slow">
    <p:fade/>
  </p:transition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40"/>
            <a:ext cx="78867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6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61948F93-BD84-4099-8A73-833F22223A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7F9FDDF-268E-4777-83F4-3CB3B6FBFF5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17693917"/>
      </p:ext>
    </p:extLst>
  </p:cSld>
  <p:clrMapOvr>
    <a:masterClrMapping/>
  </p:clrMapOvr>
  <p:transition spd="slow">
    <p:fade/>
  </p:transition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омер слайда 6">
            <a:extLst>
              <a:ext uri="{FF2B5EF4-FFF2-40B4-BE49-F238E27FC236}">
                <a16:creationId xmlns="" xmlns:a16="http://schemas.microsoft.com/office/drawing/2014/main" id="{41DB5876-DC5E-4433-8D0A-D1730A81C1E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D143285-D0B2-4D1F-834C-7F2BD4DCAB4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6744623"/>
      </p:ext>
    </p:extLst>
  </p:cSld>
  <p:clrMapOvr>
    <a:masterClrMapping/>
  </p:clrMapOvr>
  <p:transition spd="slow">
    <p:fade/>
  </p:transition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>
                <a:latin typeface="Myriad Pro" panose="020B0503030403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Номер слайда 8">
            <a:extLst>
              <a:ext uri="{FF2B5EF4-FFF2-40B4-BE49-F238E27FC236}">
                <a16:creationId xmlns="" xmlns:a16="http://schemas.microsoft.com/office/drawing/2014/main" id="{59B3F804-6CB3-4C8F-A0D1-67FDC4A5C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6296902-5243-41BC-ACD9-4032F89B145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2814474"/>
      </p:ext>
    </p:extLst>
  </p:cSld>
  <p:clrMapOvr>
    <a:masterClrMapping/>
  </p:clrMapOvr>
  <p:transition spd="slow">
    <p:fade/>
  </p:transition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4">
            <a:extLst>
              <a:ext uri="{FF2B5EF4-FFF2-40B4-BE49-F238E27FC236}">
                <a16:creationId xmlns="" xmlns:a16="http://schemas.microsoft.com/office/drawing/2014/main" id="{0CDB9C3D-8099-43A5-B012-1DFCAA1F5A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30B8FA5-18C9-48F4-819F-E3FB72F2CDB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2444784"/>
      </p:ext>
    </p:extLst>
  </p:cSld>
  <p:clrMapOvr>
    <a:masterClrMapping/>
  </p:clrMapOvr>
  <p:transition spd="slow">
    <p:fade/>
  </p:transition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>
            <a:extLst>
              <a:ext uri="{FF2B5EF4-FFF2-40B4-BE49-F238E27FC236}">
                <a16:creationId xmlns="" xmlns:a16="http://schemas.microsoft.com/office/drawing/2014/main" id="{AC59557A-D274-41FB-B9C9-C768A09759D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065053"/>
      </p:ext>
    </p:extLst>
  </p:cSld>
  <p:clrMapOvr>
    <a:masterClrMapping/>
  </p:clrMapOvr>
  <p:transition spd="slow">
    <p:fade/>
  </p:transition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8"/>
            <a:ext cx="4629150" cy="4873625"/>
          </a:xfrm>
        </p:spPr>
        <p:txBody>
          <a:bodyPr/>
          <a:lstStyle>
            <a:lvl1pPr>
              <a:defRPr sz="2800">
                <a:latin typeface="Myriad Pro" panose="020B0503030403020204" pitchFamily="34" charset="0"/>
              </a:defRPr>
            </a:lvl1pPr>
            <a:lvl2pPr>
              <a:defRPr sz="26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>
            <a:extLst>
              <a:ext uri="{FF2B5EF4-FFF2-40B4-BE49-F238E27FC236}">
                <a16:creationId xmlns="" xmlns:a16="http://schemas.microsoft.com/office/drawing/2014/main" id="{5C899443-5722-4A96-AA06-7B05A07F3B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2584C76-16E3-4A4C-807E-C1AEF6B5948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13376505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433BD4F-31D2-4048-9849-21F534830BD1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CD1D944-2886-4DFC-89BC-904CB76311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0491201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8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омер слайда 6">
            <a:extLst>
              <a:ext uri="{FF2B5EF4-FFF2-40B4-BE49-F238E27FC236}">
                <a16:creationId xmlns="" xmlns:a16="http://schemas.microsoft.com/office/drawing/2014/main" id="{6B861C6A-C6AE-4CD5-A1BE-746748C8E17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880D0D8-9A07-443B-9391-C47CFEC1F72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75119989"/>
      </p:ext>
    </p:extLst>
  </p:cSld>
  <p:clrMapOvr>
    <a:masterClrMapping/>
  </p:clrMapOvr>
  <p:transition spd="slow">
    <p:fade/>
  </p:transition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DC41577A-628F-4849-82F9-A7EE0EC7DC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1C36CC1-0ED8-4278-9354-CD6A96A24EE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33488592"/>
      </p:ext>
    </p:extLst>
  </p:cSld>
  <p:clrMapOvr>
    <a:masterClrMapping/>
  </p:clrMapOvr>
  <p:transition spd="slow">
    <p:fade/>
  </p:transition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>
            <a:normAutofit/>
          </a:bodyPr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>
            <a:lvl1pPr>
              <a:defRPr sz="2600"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Номер слайда 5">
            <a:extLst>
              <a:ext uri="{FF2B5EF4-FFF2-40B4-BE49-F238E27FC236}">
                <a16:creationId xmlns="" xmlns:a16="http://schemas.microsoft.com/office/drawing/2014/main" id="{DFFA232E-9EE6-4AFB-8359-CACE21EC7F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CD6BB79-E923-4731-8F82-628223D54B4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8416137"/>
      </p:ext>
    </p:extLst>
  </p:cSld>
  <p:clrMapOvr>
    <a:masterClrMapping/>
  </p:clrMapOvr>
  <p:transition spd="slow">
    <p:fade/>
  </p:transition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0"/>
            <a:ext cx="8416800" cy="310658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414280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>
            <a:extLst>
              <a:ext uri="{FF2B5EF4-FFF2-40B4-BE49-F238E27FC236}">
                <a16:creationId xmlns="" xmlns:a16="http://schemas.microsoft.com/office/drawing/2014/main" id="{4C8F28A6-22C6-4B7C-B88F-88AC9A4E42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0468585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3" y="192000"/>
            <a:ext cx="8765651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5B45C980-2325-4A7F-B118-8DBABA9F24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319088" y="6462713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F9F08E1D-4889-4437-8746-B90D5B6E6959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602172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="" xmlns:a16="http://schemas.microsoft.com/office/drawing/2014/main" id="{E968003C-2CF7-49AB-B85A-A8AB14A3C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24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2" y="1552684"/>
            <a:ext cx="7023713" cy="422952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59D3DF29-13E3-4239-B467-724378A5F4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9088" y="6462713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89F2CC5E-0DF4-43CB-A2E3-F623DAADA11D}" type="slidenum">
              <a:rPr lang="en-US" altLang="ru-RU">
                <a:solidFill>
                  <a:prstClr val="black"/>
                </a:solidFill>
              </a:rPr>
              <a:pPr/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17990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>
            <a:extLst>
              <a:ext uri="{FF2B5EF4-FFF2-40B4-BE49-F238E27FC236}">
                <a16:creationId xmlns="" xmlns:a16="http://schemas.microsoft.com/office/drawing/2014/main" id="{9FD4DBEE-9FAE-4BD1-9585-212A4F267E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0934009"/>
      </p:ext>
    </p:extLst>
  </p:cSld>
  <p:clrMapOvr>
    <a:masterClrMapping/>
  </p:clrMapOvr>
  <p:transition spd="slow">
    <p:fade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>
            <a:extLst>
              <a:ext uri="{FF2B5EF4-FFF2-40B4-BE49-F238E27FC236}">
                <a16:creationId xmlns="" xmlns:a16="http://schemas.microsoft.com/office/drawing/2014/main" id="{7B3F3332-D7C5-4BD7-BA00-A7984E6C41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5160973"/>
      </p:ext>
    </p:extLst>
  </p:cSld>
  <p:clrMapOvr>
    <a:masterClrMapping/>
  </p:clrMapOvr>
  <p:transition spd="slow">
    <p:fade/>
  </p:transition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>
            <a:extLst>
              <a:ext uri="{FF2B5EF4-FFF2-40B4-BE49-F238E27FC236}">
                <a16:creationId xmlns="" xmlns:a16="http://schemas.microsoft.com/office/drawing/2014/main" id="{68180C34-51CF-446F-B410-E72491711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3963115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9A23632-4F78-437B-88A2-D276C88DAC06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219F9DD7-0214-4BAC-9306-1D4D2F2EB4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1583962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>
            <a:extLst>
              <a:ext uri="{FF2B5EF4-FFF2-40B4-BE49-F238E27FC236}">
                <a16:creationId xmlns="" xmlns:a16="http://schemas.microsoft.com/office/drawing/2014/main" id="{52F9190A-578F-44B1-8FE8-60A9BB390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0030917"/>
      </p:ext>
    </p:extLst>
  </p:cSld>
  <p:clrMapOvr>
    <a:masterClrMapping/>
  </p:clrMapOvr>
  <p:transition spd="slow">
    <p:fade/>
  </p:transition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32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1" y="1315390"/>
            <a:ext cx="8280540" cy="4229521"/>
          </a:xfrm>
          <a:prstGeom prst="rect">
            <a:avLst/>
          </a:prstGeom>
        </p:spPr>
        <p:txBody>
          <a:bodyPr/>
          <a:lstStyle>
            <a:lvl1pPr marL="457189" indent="-457189">
              <a:spcBef>
                <a:spcPts val="0"/>
              </a:spcBef>
              <a:buFont typeface="Arial" panose="020B0604020202020204" pitchFamily="34" charset="0"/>
              <a:buChar char="•"/>
              <a:defRPr sz="2667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/>
            </a:lvl2pPr>
            <a:lvl3pPr marL="1676358" indent="-457189">
              <a:buFont typeface="Arial" panose="020B0604020202020204" pitchFamily="34" charset="0"/>
              <a:buChar char="–"/>
              <a:defRPr sz="2133"/>
            </a:lvl3pPr>
            <a:lvl4pPr marL="1828754" indent="0">
              <a:buNone/>
              <a:defRPr sz="3200"/>
            </a:lvl4pPr>
            <a:lvl5pPr marL="2438339" indent="0">
              <a:buNone/>
              <a:defRPr sz="3200"/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3" name="Text Placeholder 2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522000"/>
            <a:ext cx="7981950" cy="336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67"/>
            </a:lvl1pPr>
          </a:lstStyle>
          <a:p>
            <a:pPr lvl="0"/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3EAA0DA6-BFB5-42A7-8206-70AF96F97E9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l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B4513AA1-183A-4087-909C-8768B0800280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889216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32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1" y="1315390"/>
            <a:ext cx="8280540" cy="4229521"/>
          </a:xfrm>
          <a:prstGeom prst="rect">
            <a:avLst/>
          </a:prstGeom>
        </p:spPr>
        <p:txBody>
          <a:bodyPr/>
          <a:lstStyle>
            <a:lvl1pPr marL="457189" indent="-457189">
              <a:spcBef>
                <a:spcPts val="0"/>
              </a:spcBef>
              <a:buFont typeface="Arial" panose="020B0604020202020204" pitchFamily="34" charset="0"/>
              <a:buChar char="•"/>
              <a:defRPr sz="2667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/>
            </a:lvl2pPr>
            <a:lvl3pPr marL="1219170" indent="0">
              <a:buNone/>
              <a:defRPr sz="3200"/>
            </a:lvl3pPr>
            <a:lvl4pPr marL="1828754" indent="0">
              <a:buNone/>
              <a:defRPr sz="3200"/>
            </a:lvl4pPr>
            <a:lvl5pPr marL="2438339" indent="0">
              <a:buNone/>
              <a:defRPr sz="3200"/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3" name="Text Placeholder 2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522000"/>
            <a:ext cx="7981950" cy="336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67"/>
            </a:lvl1pPr>
          </a:lstStyle>
          <a:p>
            <a:pPr lvl="0"/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2716915E-8217-4837-8007-3106F3B4CC5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17500" y="6462713"/>
            <a:ext cx="396875" cy="215900"/>
          </a:xfrm>
        </p:spPr>
        <p:txBody>
          <a:bodyPr lIns="0" tIns="0" rIns="0" bIns="0" anchor="t"/>
          <a:lstStyle>
            <a:lvl1pPr algn="l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D4DE6223-C8C1-48B9-86E2-4D6D0B6C85CD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819884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8"/>
          <p:cNvSpPr>
            <a:spLocks noGrp="1"/>
          </p:cNvSpPr>
          <p:nvPr>
            <p:ph type="title"/>
          </p:nvPr>
        </p:nvSpPr>
        <p:spPr>
          <a:xfrm>
            <a:off x="237601" y="192000"/>
            <a:ext cx="8280000" cy="672000"/>
          </a:xfrm>
          <a:prstGeom prst="rect">
            <a:avLst/>
          </a:prstGeom>
        </p:spPr>
        <p:txBody>
          <a:bodyPr/>
          <a:lstStyle>
            <a:lvl1pPr algn="l">
              <a:lnSpc>
                <a:spcPct val="100000"/>
              </a:lnSpc>
              <a:defRPr sz="3200" b="1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noProof="0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7061" y="1315390"/>
            <a:ext cx="8280540" cy="4229521"/>
          </a:xfrm>
          <a:prstGeom prst="rect">
            <a:avLst/>
          </a:prstGeom>
        </p:spPr>
        <p:txBody>
          <a:bodyPr/>
          <a:lstStyle>
            <a:lvl1pPr marL="457189" indent="-457189">
              <a:spcBef>
                <a:spcPts val="0"/>
              </a:spcBef>
              <a:buFont typeface="Arial" panose="020B0604020202020204" pitchFamily="34" charset="0"/>
              <a:buChar char="•"/>
              <a:defRPr sz="2667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990575" indent="-380990">
              <a:buFont typeface="Arial" panose="020B0604020202020204" pitchFamily="34" charset="0"/>
              <a:buChar char="•"/>
              <a:defRPr sz="2400"/>
            </a:lvl2pPr>
            <a:lvl3pPr marL="1219170" indent="0">
              <a:buNone/>
              <a:defRPr sz="3200"/>
            </a:lvl3pPr>
            <a:lvl4pPr marL="1828754" indent="0">
              <a:buNone/>
              <a:defRPr sz="3200"/>
            </a:lvl4pPr>
            <a:lvl5pPr marL="2438339" indent="0">
              <a:buNone/>
              <a:defRPr sz="3200"/>
            </a:lvl5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3" name="Text Placeholder 2">
            <a:extLst/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6522000"/>
            <a:ext cx="7981950" cy="336000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67"/>
            </a:lvl1pPr>
          </a:lstStyle>
          <a:p>
            <a:pPr lvl="0"/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47455F86-B71A-4171-9AA3-51689ADA723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17500" y="6462713"/>
            <a:ext cx="396875" cy="215900"/>
          </a:xfrm>
        </p:spPr>
        <p:txBody>
          <a:bodyPr lIns="0" tIns="0" rIns="0" bIns="0" anchor="t"/>
          <a:lstStyle>
            <a:lvl1pPr algn="l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23F25536-4878-4E47-AF95-1742EC13F7B8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167789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1157290" y="1344639"/>
            <a:ext cx="63500" cy="65087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2EDDD6-403B-4D3D-8982-7C9324624B2D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9F1EF-5EA5-49CC-A893-158A3694720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31935034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54FB8-E21D-43B6-B95D-EA39DE8BE7FB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D0CC60-53EB-4F06-AF99-D71AC1DA61B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9408418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2825" y="0"/>
            <a:ext cx="68580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invGray">
          <a:xfrm>
            <a:off x="2286000" y="0"/>
            <a:ext cx="762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408239" y="2746375"/>
            <a:ext cx="63500" cy="63500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33E8F0-7837-48E4-873D-66CECB91CF7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A7B81-ABCB-4A4D-8571-D6600C42E8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2979746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6412F-64CA-4375-B994-3A28D73380A3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89975F-AA6D-4E97-978A-9CB59CE0F8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3444880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/>
          <a:lstStyle>
            <a:lvl1pPr algn="ctr">
              <a:defRPr sz="4500" b="1" cap="none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C3F4FB-347F-43D1-8DC4-EC54F6026227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F5F702-85EF-4A4B-8323-ABB13C63E6E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33931662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91F0F6-22D3-495D-B010-050E569DE528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CF0557-16BB-453F-85D0-69551ED79C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23041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2715095-CF0E-4248-A1A9-F3598F1DE965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87FB952-B830-462A-8A76-1D57845555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0249073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14419" y="0"/>
            <a:ext cx="8129587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invGray">
          <a:xfrm>
            <a:off x="1014426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71D43-AFFF-4FAA-9245-400036AE8632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435F0B-16B6-47F9-9D63-BEC98EF563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35457983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3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E6888-E6CF-410B-BACA-C8DDDDD34780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1EB7C3-9790-4224-96B0-B04A389F82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00262997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tIns="274320">
            <a:normAutofit/>
          </a:bodyPr>
          <a:lstStyle/>
          <a:p>
            <a:pPr indent="-283464">
              <a:lnSpc>
                <a:spcPts val="3000"/>
              </a:lnSpc>
              <a:spcBef>
                <a:spcPts val="600"/>
              </a:spcBef>
              <a:buClr>
                <a:srgbClr val="3891A7"/>
              </a:buClr>
              <a:buSzPct val="80000"/>
              <a:buFont typeface="Wingdings 2"/>
              <a:buNone/>
              <a:defRPr/>
            </a:pPr>
            <a:endParaRPr lang="en-US" sz="32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6" name="Блок-схема: процесс 5"/>
          <p:cNvSpPr/>
          <p:nvPr/>
        </p:nvSpPr>
        <p:spPr>
          <a:xfrm rot="19468671">
            <a:off x="396875" y="954088"/>
            <a:ext cx="685800" cy="204787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Блок-схема: процесс 6"/>
          <p:cNvSpPr/>
          <p:nvPr/>
        </p:nvSpPr>
        <p:spPr>
          <a:xfrm rot="2103354" flipH="1">
            <a:off x="5003802" y="936625"/>
            <a:ext cx="649288" cy="204788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05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tIns="274320">
            <a:normAutofit/>
          </a:bodyPr>
          <a:lstStyle>
            <a:lvl1pPr indent="0">
              <a:buNone/>
              <a:defRPr sz="3200"/>
            </a:lvl1pPr>
            <a:extLst/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278AC-CAC5-437C-BAC5-3B931F4BDE0E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F5EAC4-F436-4921-9192-26E68BDC446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1117571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EC837-A55D-4B68-9B4A-6C2AD5DBCAF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54760B-E935-4FE6-B9CA-F9EE4CF59E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94733716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43"/>
            <a:ext cx="18288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3"/>
            <a:ext cx="55626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62338F-5626-47A9-85BA-E5881A6D2C15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45ACD8-1F16-4154-9D72-7F434652CAC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5663737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8"/>
          <p:cNvSpPr>
            <a:spLocks noGrp="1"/>
          </p:cNvSpPr>
          <p:nvPr>
            <p:ph type="title"/>
          </p:nvPr>
        </p:nvSpPr>
        <p:spPr>
          <a:xfrm>
            <a:off x="237069" y="192000"/>
            <a:ext cx="8765651" cy="6720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100000"/>
              </a:lnSpc>
              <a:defRPr sz="2400" b="1" baseline="0">
                <a:solidFill>
                  <a:srgbClr val="83005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noProof="0" smtClean="0"/>
              <a:t>Образец заголовка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6"/>
          </p:nvPr>
        </p:nvSpPr>
        <p:spPr>
          <a:xfrm>
            <a:off x="237600" y="1645920"/>
            <a:ext cx="7056000" cy="2157984"/>
          </a:xfrm>
          <a:prstGeom prst="rect">
            <a:avLst/>
          </a:prstGeom>
        </p:spPr>
        <p:txBody>
          <a:bodyPr/>
          <a:lstStyle>
            <a:lvl1pPr marL="179996" indent="-179996">
              <a:lnSpc>
                <a:spcPct val="100000"/>
              </a:lnSpc>
              <a:spcBef>
                <a:spcPts val="0"/>
              </a:spcBef>
              <a:buClr>
                <a:srgbClr val="830051"/>
              </a:buClr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539987" indent="-179996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 baseline="0">
                <a:latin typeface="Arial" pitchFamily="34" charset="0"/>
                <a:cs typeface="Arial" pitchFamily="34" charset="0"/>
              </a:defRPr>
            </a:lvl3pPr>
            <a:lvl4pPr marL="622784" indent="-179996">
              <a:defRPr sz="1400">
                <a:latin typeface="Arial" pitchFamily="34" charset="0"/>
                <a:cs typeface="Arial" pitchFamily="34" charset="0"/>
              </a:defRPr>
            </a:lvl4pPr>
            <a:lvl5pPr marL="622784">
              <a:defRPr sz="1400">
                <a:latin typeface="Arial" pitchFamily="34" charset="0"/>
                <a:cs typeface="Arial" pitchFamily="34" charset="0"/>
              </a:defRPr>
            </a:lvl5pPr>
            <a:lvl6pPr>
              <a:defRPr>
                <a:latin typeface="Arial" pitchFamily="34" charset="0"/>
                <a:cs typeface="Arial" pitchFamily="34" charset="0"/>
              </a:defRPr>
            </a:lvl6pPr>
          </a:lstStyle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19100" y="6462713"/>
            <a:ext cx="395287" cy="215900"/>
          </a:xfrm>
        </p:spPr>
        <p:txBody>
          <a:bodyPr lIns="0" tIns="0" rIns="0" bIns="0" anchor="t"/>
          <a:lstStyle>
            <a:lvl1pPr algn="l">
              <a:defRPr sz="8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EAE86ED-AAD4-41BF-8EA2-8D6EBACB5504}" type="slidenum">
              <a:rPr lang="en-GB" altLang="ru-RU">
                <a:solidFill>
                  <a:prstClr val="black"/>
                </a:solidFill>
              </a:rPr>
              <a:pPr/>
              <a:t>‹#›</a:t>
            </a:fld>
            <a:endParaRPr lang="en-GB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828306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0"/>
            <a:ext cx="8416800" cy="310658"/>
          </a:xfrm>
        </p:spPr>
        <p:txBody>
          <a:bodyPr/>
          <a:lstStyle>
            <a:lvl1pPr marL="0" indent="0">
              <a:buNone/>
              <a:defRPr sz="2585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215" b="1">
                <a:solidFill>
                  <a:srgbClr val="0033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79720305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9037862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F1BA12-CC98-4FAC-A505-52AD1DC87BD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5518722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40906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C1F50F8E-C253-4F1B-883B-A2B93081CDA7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177A21D-F795-44D5-9F23-257E57C977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0665395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4600" y="381000"/>
            <a:ext cx="6400800" cy="838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143000" y="1600200"/>
            <a:ext cx="3810000" cy="4495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5105400" y="1600200"/>
            <a:ext cx="3810000" cy="4495800"/>
          </a:xfrm>
        </p:spPr>
        <p:txBody>
          <a:bodyPr/>
          <a:lstStyle/>
          <a:p>
            <a:pPr lvl="0"/>
            <a:r>
              <a:rPr lang="ru-RU" noProof="0" smtClean="0"/>
              <a:t>Вставка картинки</a:t>
            </a:r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1430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581400" y="64008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7010400" y="64008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948E1ADB-1B5F-484D-BC49-148EBAFFF5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00220408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0AFAB7-1FBB-42B1-93C8-75EE640D4982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790727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215D6D-4BCF-45EF-BED3-762BC912967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079973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89F950-D391-4D6B-BAB9-13D47A1F98C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149447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697DEB-60FC-45E6-A69C-494B13781D6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282341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AEABB5-763C-4BD6-82A7-731676F4446A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4964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514615-2BFA-43EB-A1A1-A4751CE729A1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213984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D0981C-DBAF-4F6C-8ABE-D86E7D4BABE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442656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B81170-1642-44E1-B283-E4196196ED5D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330779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14368E-B734-44AA-A810-E355832E6B7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507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906708-4546-4C58-948E-752C8BCB4EC1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BA24ECB-2916-48EB-B5F0-6D4E4B993C16}" type="slidenum">
              <a:rPr lang="en-US">
                <a:solidFill>
                  <a:srgbClr val="30932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8418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006F3D29-4B1C-4992-8AB0-96DA964BDB69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BF83F1A1-F2B0-436B-8D1D-5EF1E5AF55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668630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344E99-8369-476F-912A-AFD5A33823D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722672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C8834F-B62D-4240-B8A5-88C8F87478CC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184676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458486D3-B31F-465C-AE2F-71D717D3F920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237543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35BE472C-69D2-4E3F-8B09-9F1653C64EBB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001867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арти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артинка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627CC62A-266C-409C-8D3B-CAD40BD67434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688973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1E656FF5-A978-4282-AC4D-1DF5B8C3E2B7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821374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Заголовок, 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Картинка 3"/>
          <p:cNvSpPr>
            <a:spLocks noGrp="1"/>
          </p:cNvSpPr>
          <p:nvPr>
            <p:ph type="clip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9A26407D-9435-4067-8109-E725A7A0B34E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354496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5ED071FA-3E1D-407B-9665-2486A0902B41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185539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59BD49-E5E3-4879-A626-6DBF919B544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15657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1A8416-15BA-445E-95FE-03652841BD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709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5"/>
            <a:ext cx="8229600" cy="4525963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327932C9-FA8C-4A4C-86F7-7606D5FACF23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933D181-FF88-4A83-AD95-875314C3C3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3225378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78FBC8-17CB-4835-9142-EAA35A2B46F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697887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7CCB81-3247-4F28-AA43-5DEB0C9AC80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402632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E5B6B3-86EC-4EE0-BC0D-51753722EDB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701982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CE811-AF89-42BB-BE49-D4807638EA4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56337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C7205-2D98-4F1E-9FBB-9EE7921DAEC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848724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7C1FF-3EF6-44D3-80AE-4FD8EEFE30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37566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C17F57-29CE-47A0-82E6-0CEF746F54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6324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C7F544-4404-453D-ABC2-418BAECAE34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4609565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5811B4-627A-46FB-AF60-E8A2421222E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793923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34AC3-28BE-4FDC-B8BB-5EFB99E7EC2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8225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 dirty="0"/>
          </a:p>
        </p:txBody>
      </p:sp>
      <p:sp>
        <p:nvSpPr>
          <p:cNvPr id="6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ADBF83C6-DFC2-4DFE-A03C-C2AE281256C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27196610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B9560C-FB06-4C71-BCED-10E7F5BF44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301185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770606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91304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5844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856433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839207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195016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235420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235796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54128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628650" y="6176996"/>
            <a:ext cx="7886700" cy="681037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400" b="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90588660"/>
      </p:ext>
    </p:extLst>
  </p:cSld>
  <p:clrMapOvr>
    <a:masterClrMapping/>
  </p:clrMapOvr>
  <p:transition spd="slow">
    <p:fade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870468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513240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6888354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noProof="1" smtClean="0"/>
              <a:t>Образец подзаголовка</a:t>
            </a:r>
            <a:endParaRPr lang="ru-RU" noProof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213B31-33A2-4912-B114-D30D94358E32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3143943283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92D671-D97B-41CE-BAB0-031309F3A96D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1679695940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EBE0B8-F293-4231-97CE-2C33D86BC3DB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3606141254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67D59D0-DF9B-4D83-BB74-23C857029909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3125272481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9EB533-789B-44F6-8E45-ACE5A27D8610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2759340944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498829-4103-4BD5-B670-6CC075C290D9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2579969500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A482004-BF32-450C-81D3-8D7033E45510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26877178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985837"/>
            <a:ext cx="9144000" cy="1390651"/>
          </a:xfrm>
          <a:prstGeom prst="rect">
            <a:avLst/>
          </a:prstGeom>
          <a:gradFill rotWithShape="1">
            <a:gsLst>
              <a:gs pos="0">
                <a:srgbClr val="00279F">
                  <a:gamma/>
                  <a:shade val="46275"/>
                  <a:invGamma/>
                </a:srgbClr>
              </a:gs>
              <a:gs pos="100000">
                <a:srgbClr val="00279F"/>
              </a:gs>
            </a:gsLst>
            <a:lin ang="0" scaled="1"/>
          </a:gradFill>
          <a:ln w="1587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83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68301" y="974743"/>
            <a:ext cx="4459288" cy="1470025"/>
          </a:xfrm>
          <a:ln w="9525"/>
        </p:spPr>
        <p:txBody>
          <a:bodyPr lIns="91440" tIns="45720" rIns="91440" bIns="45720" anchor="ctr"/>
          <a:lstStyle>
            <a:lvl1pPr>
              <a:lnSpc>
                <a:spcPts val="4200"/>
              </a:lnSpc>
              <a:tabLst>
                <a:tab pos="2174875" algn="l"/>
              </a:tabLst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39109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52425" y="2654300"/>
            <a:ext cx="4675188" cy="1752600"/>
          </a:xfrm>
          <a:ln w="9525"/>
        </p:spPr>
        <p:txBody>
          <a:bodyPr lIns="91440" tIns="45720" rIns="91440" bIns="45720"/>
          <a:lstStyle>
            <a:lvl1pPr marL="0" indent="0">
              <a:lnSpc>
                <a:spcPts val="3800"/>
              </a:lnSpc>
              <a:buFontTx/>
              <a:buNone/>
              <a:defRPr sz="3400"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2335078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997638-2A5B-4448-883B-C0EC902E29CF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578513344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7540EB-A02D-42B6-9AAE-400DC8F6CAEF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226397363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4E945C-7EC6-4BAE-9C0D-5B5219C41FC4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3250207179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noProof="1" smtClean="0"/>
              <a:t>Образец заголовка</a:t>
            </a:r>
            <a:endParaRPr lang="ru-RU" noProof="1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B89778-DDA2-420A-92CD-ADED5E4F58F0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402250940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13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192" y="1589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4400" dirty="0">
              <a:solidFill>
                <a:prstClr val="white"/>
              </a:solidFill>
              <a:latin typeface="Calibri Light" pitchFamily="34" charset="0"/>
              <a:sym typeface="Calibri Light" pitchFamily="34" charset="0"/>
            </a:endParaRPr>
          </a:p>
        </p:txBody>
      </p:sp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</p:spPr>
        <p:txBody>
          <a:bodyPr/>
          <a:lstStyle/>
          <a:p>
            <a:pPr lvl="0"/>
            <a:r>
              <a:rPr lang="ru-RU" noProof="1" smtClean="0"/>
              <a:t>Образец текста</a:t>
            </a:r>
          </a:p>
          <a:p>
            <a:pPr lvl="1"/>
            <a:r>
              <a:rPr lang="ru-RU" noProof="1" smtClean="0"/>
              <a:t>Второй уровень</a:t>
            </a:r>
          </a:p>
          <a:p>
            <a:pPr lvl="2"/>
            <a:r>
              <a:rPr lang="ru-RU" noProof="1" smtClean="0"/>
              <a:t>Третий уровень</a:t>
            </a:r>
          </a:p>
          <a:p>
            <a:pPr lvl="3"/>
            <a:r>
              <a:rPr lang="ru-RU" noProof="1" smtClean="0"/>
              <a:t>Четвертый уровень</a:t>
            </a:r>
          </a:p>
          <a:p>
            <a:pPr lvl="4"/>
            <a:r>
              <a:rPr lang="ru-RU" noProof="1" smtClean="0"/>
              <a:t>Пятый уровень</a:t>
            </a:r>
            <a:endParaRPr lang="ru-RU" noProof="1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126355B-0E37-4B47-8732-995E32C7EBD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61989329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3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192" y="1589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" name="Rectangle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4400" dirty="0">
              <a:solidFill>
                <a:prstClr val="white"/>
              </a:solidFill>
              <a:latin typeface="Calibri Light" pitchFamily="34" charset="0"/>
              <a:sym typeface="Calibri Light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9B2560"/>
                </a:solidFill>
              </a:defRPr>
            </a:lvl1pPr>
          </a:lstStyle>
          <a:p>
            <a:r>
              <a:rPr lang="ru-RU" noProof="1" smtClean="0"/>
              <a:t>Образец заголовка</a:t>
            </a:r>
            <a:endParaRPr lang="en-GB" noProof="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23528" y="1268762"/>
            <a:ext cx="8416800" cy="310659"/>
          </a:xfrm>
        </p:spPr>
        <p:txBody>
          <a:bodyPr/>
          <a:lstStyle>
            <a:lvl1pPr marL="0" indent="0">
              <a:buNone/>
              <a:defRPr sz="1940" b="1" baseline="0">
                <a:solidFill>
                  <a:schemeClr val="tx2">
                    <a:lumMod val="40000"/>
                    <a:lumOff val="60000"/>
                  </a:schemeClr>
                </a:solidFill>
                <a:latin typeface="Arial" panose="02080604020202020204" pitchFamily="34" charset="0"/>
                <a:cs typeface="Arial" panose="02080604020202020204" pitchFamily="34" charset="0"/>
              </a:defRPr>
            </a:lvl1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1660" b="1">
                <a:solidFill>
                  <a:srgbClr val="003300"/>
                </a:solidFill>
                <a:latin typeface="Arial" panose="02080604020202020204" pitchFamily="34" charset="0"/>
                <a:cs typeface="Arial" panose="02080604020202020204" pitchFamily="34" charset="0"/>
              </a:defRPr>
            </a:lvl1pPr>
          </a:lstStyle>
          <a:p>
            <a:pPr lvl="0"/>
            <a:r>
              <a:rPr lang="ru-RU" noProof="1" smtClean="0"/>
              <a:t>Образец текста</a:t>
            </a:r>
          </a:p>
        </p:txBody>
      </p:sp>
      <p:sp>
        <p:nvSpPr>
          <p:cNvPr id="8" name="Замещающая дата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Замещающий 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Замещающий 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4A71D930-8EE7-4BD4-A6C0-1663A2FAD12C}" type="slidenum">
              <a:rPr lang="ru-RU" altLang="zh-CN"/>
              <a:pPr/>
              <a:t>‹#›</a:t>
            </a:fld>
            <a:endParaRPr lang="ru-RU" altLang="zh-CN"/>
          </a:p>
        </p:txBody>
      </p:sp>
    </p:spTree>
    <p:extLst>
      <p:ext uri="{BB962C8B-B14F-4D97-AF65-F5344CB8AC3E}">
        <p14:creationId xmlns:p14="http://schemas.microsoft.com/office/powerpoint/2010/main" val="3996835554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7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8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/>
          <p:cNvSpPr/>
          <p:nvPr userDrawn="1"/>
        </p:nvSpPr>
        <p:spPr>
          <a:xfrm>
            <a:off x="192881" y="963620"/>
            <a:ext cx="8716566" cy="2381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78" y="438152"/>
            <a:ext cx="2041922" cy="261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12"/>
          <p:cNvSpPr>
            <a:spLocks noGrp="1"/>
          </p:cNvSpPr>
          <p:nvPr>
            <p:ph sz="quarter" idx="12"/>
          </p:nvPr>
        </p:nvSpPr>
        <p:spPr>
          <a:xfrm>
            <a:off x="2356659" y="467590"/>
            <a:ext cx="6501592" cy="532996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172200"/>
            <a:ext cx="8572500" cy="31115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B4AFF1D9-81A4-45AD-A532-F639165CF15D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6126308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Light Gray">
    <p:bg bwMode="auto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1900" y="3124200"/>
            <a:ext cx="5086350" cy="1905000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algn="l">
              <a:lnSpc>
                <a:spcPts val="4400"/>
              </a:lnSpc>
              <a:defRPr sz="3600" spc="-50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noProof="1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1903" y="5694305"/>
            <a:ext cx="3200401" cy="526298"/>
          </a:xfrm>
        </p:spPr>
        <p:txBody>
          <a:bodyPr tIns="0" bIns="0" anchor="b">
            <a:spAutoFit/>
          </a:bodyPr>
          <a:lstStyle>
            <a:lvl1pPr marL="0" indent="0" algn="l">
              <a:spcBef>
                <a:spcPts val="600"/>
              </a:spcBef>
              <a:buNone/>
              <a:defRPr sz="1800" b="1" cap="none" spc="0" baseline="0">
                <a:solidFill>
                  <a:schemeClr val="bg2"/>
                </a:solidFill>
                <a:latin typeface="+mn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 noProof="1"/>
              <a:t>Click to edit master subtitle styl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025320" y="5986690"/>
            <a:ext cx="1832931" cy="233910"/>
          </a:xfrm>
        </p:spPr>
        <p:txBody>
          <a:bodyPr tIns="0" bIns="0" anchor="b">
            <a:spAutoFit/>
          </a:bodyPr>
          <a:lstStyle>
            <a:lvl1pPr marL="0" indent="0" algn="r">
              <a:spcBef>
                <a:spcPts val="600"/>
              </a:spcBef>
              <a:buNone/>
              <a:defRPr sz="1600" b="1" cap="all" spc="0" baseline="0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January 23, 2019</a:t>
            </a:r>
          </a:p>
        </p:txBody>
      </p:sp>
    </p:spTree>
    <p:extLst>
      <p:ext uri="{BB962C8B-B14F-4D97-AF65-F5344CB8AC3E}">
        <p14:creationId xmlns:p14="http://schemas.microsoft.com/office/powerpoint/2010/main" val="2700684571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_Light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/>
          <p:nvPr userDrawn="1"/>
        </p:nvSpPr>
        <p:spPr>
          <a:xfrm>
            <a:off x="1885950" y="2514600"/>
            <a:ext cx="7258050" cy="1974850"/>
          </a:xfrm>
          <a:prstGeom prst="rect">
            <a:avLst/>
          </a:prstGeom>
          <a:solidFill>
            <a:srgbClr val="E5E2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781" y="1625600"/>
            <a:ext cx="2957513" cy="378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1772" y="7"/>
            <a:ext cx="2612231" cy="149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Placeholder 12"/>
          <p:cNvSpPr>
            <a:spLocks noGrp="1"/>
          </p:cNvSpPr>
          <p:nvPr userDrawn="1">
            <p:ph type="body" sz="quarter" idx="13"/>
          </p:nvPr>
        </p:nvSpPr>
        <p:spPr>
          <a:xfrm>
            <a:off x="3314700" y="2507495"/>
            <a:ext cx="5543550" cy="1974850"/>
          </a:xfrm>
        </p:spPr>
        <p:txBody>
          <a:bodyPr anchor="ctr">
            <a:normAutofit/>
          </a:bodyPr>
          <a:lstStyle>
            <a:lvl1pPr marL="0" indent="0">
              <a:lnSpc>
                <a:spcPts val="4400"/>
              </a:lnSpc>
              <a:spcBef>
                <a:spcPts val="0"/>
              </a:spcBef>
              <a:buNone/>
              <a:defRPr sz="3600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288207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_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6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7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US" noProof="1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172200"/>
            <a:ext cx="8572500" cy="31115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6ED016DD-4735-4EF4-8CB2-36B14A6D3DF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5791623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552710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_OPT 2_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695454"/>
            <a:ext cx="8572500" cy="432434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85750" y="0"/>
            <a:ext cx="8572500" cy="1058310"/>
          </a:xfrm>
          <a:prstGeom prst="rect">
            <a:avLst/>
          </a:prstGeom>
        </p:spPr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85750" y="1257300"/>
            <a:ext cx="8572500" cy="381000"/>
          </a:xfrm>
        </p:spPr>
        <p:txBody>
          <a:bodyPr anchor="ctr">
            <a:noAutofit/>
          </a:bodyPr>
          <a:lstStyle>
            <a:lvl1pPr marL="0" indent="0">
              <a:buNone/>
              <a:defRPr sz="2000" b="1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172200"/>
            <a:ext cx="8572500" cy="31115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7C514B84-67D7-4CD9-BE78-774FC61C1A4F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60097714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2 Content Top &amp;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57300"/>
            <a:ext cx="85725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85750" y="3619500"/>
            <a:ext cx="85725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922B0CC6-6F67-4729-A3CA-D0B62A7E948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004134265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P TOP &amp; FULL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57300"/>
            <a:ext cx="42291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85750" y="3619500"/>
            <a:ext cx="85725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629150" y="1257300"/>
            <a:ext cx="42291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72FC8886-F75D-4AA1-9653-1B47A7CE7B6D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8421959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OP &amp; SPLI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57300"/>
            <a:ext cx="85725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285750" y="3619500"/>
            <a:ext cx="42291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629150" y="3619500"/>
            <a:ext cx="4229100" cy="22098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DDF407D3-1754-4891-BB92-505782BB804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234031819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285750" y="1257300"/>
            <a:ext cx="42291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3"/>
          </p:nvPr>
        </p:nvSpPr>
        <p:spPr>
          <a:xfrm>
            <a:off x="4629150" y="1257300"/>
            <a:ext cx="42291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6C5FACFA-04D9-4D99-AF90-0FFFBF00E51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506739873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LUMN LAYOUT w/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629150" y="1257300"/>
            <a:ext cx="4229100" cy="45720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5750" y="1257300"/>
            <a:ext cx="42291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DCC1F349-BEF0-4724-A161-4F19090B022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668305002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13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10"/>
          <p:cNvSpPr>
            <a:spLocks noGrp="1"/>
          </p:cNvSpPr>
          <p:nvPr>
            <p:ph sz="quarter" idx="12"/>
          </p:nvPr>
        </p:nvSpPr>
        <p:spPr>
          <a:xfrm>
            <a:off x="285750" y="1685925"/>
            <a:ext cx="4229100" cy="44196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3"/>
          </p:nvPr>
        </p:nvSpPr>
        <p:spPr>
          <a:xfrm>
            <a:off x="4629150" y="1685925"/>
            <a:ext cx="4229100" cy="44196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Source Information: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85754" y="1257300"/>
            <a:ext cx="8572499" cy="381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2000" b="1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Subtitle Placeholder</a:t>
            </a:r>
          </a:p>
        </p:txBody>
      </p:sp>
      <p:sp>
        <p:nvSpPr>
          <p:cNvPr id="14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457200">
              <a:defRPr>
                <a:solidFill>
                  <a:srgbClr val="555555"/>
                </a:solidFill>
              </a:defRPr>
            </a:lvl1pPr>
          </a:lstStyle>
          <a:p>
            <a:fld id="{978C8D40-BBD9-4C59-8D16-0AFAC8C09E5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35151502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SPLT LHS, 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257300"/>
            <a:ext cx="42291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4629150" y="1257300"/>
            <a:ext cx="42291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285750" y="3619500"/>
            <a:ext cx="42291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96A12D00-B86A-400C-BDD7-D0976A809F8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046551338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, 1/2 SPLT R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35064" y="1257300"/>
            <a:ext cx="42291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285750" y="1257300"/>
            <a:ext cx="42291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4635064" y="3619500"/>
            <a:ext cx="42291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A66A0711-C56D-4330-9051-B8E62EEF79E0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142901228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5750" y="1257300"/>
            <a:ext cx="27432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200400" y="1257300"/>
            <a:ext cx="27432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115050" y="1257300"/>
            <a:ext cx="2743200" cy="4572000"/>
          </a:xfrm>
        </p:spPr>
        <p:txBody>
          <a:bodyPr/>
          <a:lstStyle/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337156"/>
            <a:ext cx="8572500" cy="14619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10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2D955C2C-D31E-49CD-B15C-BBD713DD07B4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23970208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33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29523442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Content_w/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1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15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Source Information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85754" y="1257300"/>
            <a:ext cx="8572499" cy="381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2000" b="1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Subtitle Placeholder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9"/>
          </p:nvPr>
        </p:nvSpPr>
        <p:spPr>
          <a:xfrm>
            <a:off x="285750" y="1752600"/>
            <a:ext cx="2743200" cy="4419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20"/>
          </p:nvPr>
        </p:nvSpPr>
        <p:spPr>
          <a:xfrm>
            <a:off x="3200400" y="1752600"/>
            <a:ext cx="2743200" cy="4419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21"/>
          </p:nvPr>
        </p:nvSpPr>
        <p:spPr>
          <a:xfrm>
            <a:off x="6115050" y="1752600"/>
            <a:ext cx="2743200" cy="4419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6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defTabSz="457200">
              <a:defRPr>
                <a:solidFill>
                  <a:srgbClr val="555555"/>
                </a:solidFill>
              </a:defRPr>
            </a:lvl1pPr>
          </a:lstStyle>
          <a:p>
            <a:fld id="{4C76A96D-7F92-4E27-9D76-4344F1AD860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9461351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285750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57450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629150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800850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8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939E421F-2350-4382-846B-6FAB307BDE7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962645160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, 1/2, 1/4 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8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9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Source Information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0"/>
          </p:nvPr>
        </p:nvSpPr>
        <p:spPr>
          <a:xfrm>
            <a:off x="285750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21"/>
          </p:nvPr>
        </p:nvSpPr>
        <p:spPr>
          <a:xfrm>
            <a:off x="2456108" y="1257300"/>
            <a:ext cx="4230445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2"/>
          </p:nvPr>
        </p:nvSpPr>
        <p:spPr>
          <a:xfrm>
            <a:off x="6804883" y="1257300"/>
            <a:ext cx="205740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0" name="Slide Number Placeholder 1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 defTabSz="457200">
              <a:defRPr>
                <a:solidFill>
                  <a:srgbClr val="555555"/>
                </a:solidFill>
              </a:defRPr>
            </a:lvl1pPr>
          </a:lstStyle>
          <a:p>
            <a:fld id="{E63FCD7E-7382-45DB-9858-3B5D5434718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50104304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320040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18" name="Content Placeholder 2"/>
          <p:cNvSpPr>
            <a:spLocks noGrp="1"/>
          </p:cNvSpPr>
          <p:nvPr>
            <p:ph sz="half" idx="11"/>
          </p:nvPr>
        </p:nvSpPr>
        <p:spPr>
          <a:xfrm>
            <a:off x="611505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285750" y="38100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200400" y="38100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15050" y="38100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8EBA061A-11C8-4631-A139-B4CDB5442607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77141996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 TOP, 1/3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6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17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Isosceles Triangle 32"/>
          <p:cNvSpPr/>
          <p:nvPr userDrawn="1"/>
        </p:nvSpPr>
        <p:spPr>
          <a:xfrm rot="5400000">
            <a:off x="2487216" y="4800600"/>
            <a:ext cx="1219200" cy="228600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9" name="Isosceles Triangle 33"/>
          <p:cNvSpPr/>
          <p:nvPr userDrawn="1"/>
        </p:nvSpPr>
        <p:spPr>
          <a:xfrm rot="5400000">
            <a:off x="5437585" y="4800600"/>
            <a:ext cx="1219200" cy="228600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3236121" y="3810000"/>
            <a:ext cx="2671763" cy="2209800"/>
          </a:xfrm>
          <a:solidFill>
            <a:schemeClr val="accent5"/>
          </a:solidFill>
        </p:spPr>
        <p:txBody>
          <a:bodyPr lIns="91440" tIns="91440" rIns="91440" bIns="91440">
            <a:normAutofit/>
          </a:bodyPr>
          <a:lstStyle>
            <a:lvl1pPr>
              <a:spcBef>
                <a:spcPts val="0"/>
              </a:spcBef>
              <a:buClr>
                <a:schemeClr val="bg2"/>
              </a:buClr>
              <a:defRPr sz="16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Clr>
                <a:schemeClr val="bg2"/>
              </a:buClr>
              <a:defRPr sz="1400" b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buClr>
                <a:schemeClr val="bg2"/>
              </a:buClr>
              <a:defRPr sz="12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Clr>
                <a:schemeClr val="bg2"/>
              </a:buClr>
              <a:defRPr sz="11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buClr>
                <a:schemeClr val="bg2"/>
              </a:buClr>
              <a:defRPr sz="1100" b="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6186490" y="3810000"/>
            <a:ext cx="2671763" cy="2209800"/>
          </a:xfrm>
          <a:solidFill>
            <a:schemeClr val="accent5"/>
          </a:solidFill>
        </p:spPr>
        <p:txBody>
          <a:bodyPr lIns="91440" tIns="91440" rIns="91440" bIns="91440">
            <a:normAutofit/>
          </a:bodyPr>
          <a:lstStyle>
            <a:lvl1pPr>
              <a:spcBef>
                <a:spcPts val="0"/>
              </a:spcBef>
              <a:buClr>
                <a:schemeClr val="bg2"/>
              </a:buClr>
              <a:defRPr sz="16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buClr>
                <a:schemeClr val="bg2"/>
              </a:buClr>
              <a:defRPr sz="1400" b="0">
                <a:solidFill>
                  <a:schemeClr val="bg1"/>
                </a:solidFill>
              </a:defRPr>
            </a:lvl2pPr>
            <a:lvl3pPr>
              <a:spcBef>
                <a:spcPts val="0"/>
              </a:spcBef>
              <a:buClr>
                <a:schemeClr val="bg2"/>
              </a:buClr>
              <a:defRPr sz="1200" b="0">
                <a:solidFill>
                  <a:schemeClr val="bg1"/>
                </a:solidFill>
              </a:defRPr>
            </a:lvl3pPr>
            <a:lvl4pPr>
              <a:spcBef>
                <a:spcPts val="0"/>
              </a:spcBef>
              <a:buClr>
                <a:schemeClr val="bg2"/>
              </a:buClr>
              <a:defRPr sz="1100" b="0">
                <a:solidFill>
                  <a:schemeClr val="bg1"/>
                </a:solidFill>
              </a:defRPr>
            </a:lvl4pPr>
            <a:lvl5pPr>
              <a:spcBef>
                <a:spcPts val="0"/>
              </a:spcBef>
              <a:buClr>
                <a:schemeClr val="bg2"/>
              </a:buClr>
              <a:defRPr sz="1100" b="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Source Information: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3"/>
          </p:nvPr>
        </p:nvSpPr>
        <p:spPr>
          <a:xfrm>
            <a:off x="285750" y="3163531"/>
            <a:ext cx="2057400" cy="457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rtlCol="0" anchor="ctr">
            <a:noAutofit/>
          </a:bodyPr>
          <a:lstStyle>
            <a:lvl1pPr marL="0" indent="0" algn="ctr">
              <a:buNone/>
              <a:defRPr lang="en-US" sz="1800" b="1" dirty="0"/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4"/>
          </p:nvPr>
        </p:nvSpPr>
        <p:spPr>
          <a:xfrm>
            <a:off x="2459208" y="3163531"/>
            <a:ext cx="2057400" cy="457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rtlCol="0" anchor="ctr">
            <a:noAutofit/>
          </a:bodyPr>
          <a:lstStyle>
            <a:lvl1pPr marL="0" indent="0" algn="ctr">
              <a:buNone/>
              <a:defRPr lang="en-US" sz="1800" b="1" dirty="0"/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25"/>
          </p:nvPr>
        </p:nvSpPr>
        <p:spPr>
          <a:xfrm>
            <a:off x="4632668" y="3163531"/>
            <a:ext cx="2057400" cy="457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rtlCol="0" anchor="ctr">
            <a:noAutofit/>
          </a:bodyPr>
          <a:lstStyle>
            <a:lvl1pPr marL="0" indent="0" algn="ctr">
              <a:buNone/>
              <a:defRPr lang="en-US" sz="1800" b="1" dirty="0"/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26"/>
          </p:nvPr>
        </p:nvSpPr>
        <p:spPr>
          <a:xfrm>
            <a:off x="6806126" y="3163531"/>
            <a:ext cx="2057400" cy="457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rtlCol="0" anchor="ctr">
            <a:noAutofit/>
          </a:bodyPr>
          <a:lstStyle>
            <a:lvl1pPr marL="0" indent="0" algn="ctr">
              <a:buNone/>
              <a:defRPr lang="en-US" sz="1800" b="1" dirty="0"/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32" name="Table Placeholder 31"/>
          <p:cNvSpPr>
            <a:spLocks noGrp="1"/>
          </p:cNvSpPr>
          <p:nvPr>
            <p:ph type="tbl" sz="quarter" idx="27"/>
          </p:nvPr>
        </p:nvSpPr>
        <p:spPr>
          <a:xfrm>
            <a:off x="285753" y="3810000"/>
            <a:ext cx="2671763" cy="2209800"/>
          </a:xfrm>
        </p:spPr>
        <p:txBody>
          <a:bodyPr/>
          <a:lstStyle/>
          <a:p>
            <a:endParaRPr lang="en-US" noProof="1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28"/>
          </p:nvPr>
        </p:nvSpPr>
        <p:spPr>
          <a:xfrm>
            <a:off x="285750" y="1257300"/>
            <a:ext cx="2057400" cy="1600200"/>
          </a:xfrm>
        </p:spPr>
        <p:txBody>
          <a:bodyPr/>
          <a:lstStyle/>
          <a:p>
            <a:endParaRPr lang="en-US" noProof="1"/>
          </a:p>
        </p:txBody>
      </p:sp>
      <p:sp>
        <p:nvSpPr>
          <p:cNvPr id="37" name="Picture Placeholder 35"/>
          <p:cNvSpPr>
            <a:spLocks noGrp="1"/>
          </p:cNvSpPr>
          <p:nvPr>
            <p:ph type="pic" sz="quarter" idx="29"/>
          </p:nvPr>
        </p:nvSpPr>
        <p:spPr>
          <a:xfrm>
            <a:off x="2457450" y="1257300"/>
            <a:ext cx="2057400" cy="1600200"/>
          </a:xfrm>
        </p:spPr>
        <p:txBody>
          <a:bodyPr/>
          <a:lstStyle/>
          <a:p>
            <a:endParaRPr lang="en-US" noProof="1"/>
          </a:p>
        </p:txBody>
      </p:sp>
      <p:sp>
        <p:nvSpPr>
          <p:cNvPr id="38" name="Picture Placeholder 35"/>
          <p:cNvSpPr>
            <a:spLocks noGrp="1"/>
          </p:cNvSpPr>
          <p:nvPr>
            <p:ph type="pic" sz="quarter" idx="30"/>
          </p:nvPr>
        </p:nvSpPr>
        <p:spPr>
          <a:xfrm>
            <a:off x="4629150" y="1257300"/>
            <a:ext cx="2057400" cy="1600200"/>
          </a:xfrm>
        </p:spPr>
        <p:txBody>
          <a:bodyPr/>
          <a:lstStyle/>
          <a:p>
            <a:endParaRPr lang="en-US" noProof="1"/>
          </a:p>
        </p:txBody>
      </p:sp>
      <p:sp>
        <p:nvSpPr>
          <p:cNvPr id="39" name="Picture Placeholder 35"/>
          <p:cNvSpPr>
            <a:spLocks noGrp="1"/>
          </p:cNvSpPr>
          <p:nvPr>
            <p:ph type="pic" sz="quarter" idx="31"/>
          </p:nvPr>
        </p:nvSpPr>
        <p:spPr>
          <a:xfrm>
            <a:off x="6800850" y="1257300"/>
            <a:ext cx="2057400" cy="1600200"/>
          </a:xfrm>
        </p:spPr>
        <p:txBody>
          <a:bodyPr/>
          <a:lstStyle/>
          <a:p>
            <a:endParaRPr lang="en-US" noProof="1"/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defTabSz="457200">
              <a:defRPr>
                <a:solidFill>
                  <a:srgbClr val="555555"/>
                </a:solidFill>
              </a:defRPr>
            </a:lvl1pPr>
          </a:lstStyle>
          <a:p>
            <a:fld id="{31745C2F-3CA6-489C-A197-587C8479F64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675011032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6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285750" y="3619500"/>
            <a:ext cx="2743200" cy="22098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200400" y="3619500"/>
            <a:ext cx="2743200" cy="22098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115050" y="3619500"/>
            <a:ext cx="2743200" cy="22098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3200400" y="1257300"/>
            <a:ext cx="2743200" cy="22098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6115050" y="1257300"/>
            <a:ext cx="2743200" cy="22098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28575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13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FEBABFF9-9282-4FDC-90C0-99BE41D62A7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57430031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257300"/>
            <a:ext cx="274320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3200400" y="1257300"/>
            <a:ext cx="565785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139FBEAE-86B4-4C69-9770-7827F0281CA5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41057294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PICTURE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3200400" y="1257300"/>
            <a:ext cx="565785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85750" y="1257300"/>
            <a:ext cx="2743200" cy="4572000"/>
          </a:xfrm>
        </p:spPr>
        <p:txBody>
          <a:bodyPr/>
          <a:lstStyle/>
          <a:p>
            <a:r>
              <a:rPr lang="en-US" noProof="1"/>
              <a:t>Click icon to add pictu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8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15CBBC48-DDA5-45AB-8B47-057D404871BE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154184349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575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3200400" y="1257300"/>
            <a:ext cx="5657850" cy="45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7" name="Content Placeholder 2"/>
          <p:cNvSpPr>
            <a:spLocks noGrp="1"/>
          </p:cNvSpPr>
          <p:nvPr>
            <p:ph sz="half" idx="13"/>
          </p:nvPr>
        </p:nvSpPr>
        <p:spPr>
          <a:xfrm>
            <a:off x="285750" y="36195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0CA5782-5555-4B9B-B7D6-36EC5151639D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69447444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, 1/3 Content w/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1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285750" y="1752600"/>
            <a:ext cx="5657850" cy="4419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5050" y="1752600"/>
            <a:ext cx="2743200" cy="4419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Source Information: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85754" y="1257300"/>
            <a:ext cx="8572499" cy="381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None/>
              <a:defRPr sz="2000" b="1"/>
            </a:lvl1pPr>
            <a:lvl2pPr marL="231775" indent="0">
              <a:buNone/>
              <a:defRPr/>
            </a:lvl2pPr>
            <a:lvl3pPr marL="461645" indent="0">
              <a:buNone/>
              <a:defRPr/>
            </a:lvl3pPr>
            <a:lvl4pPr marL="682625" indent="0">
              <a:buNone/>
              <a:defRPr/>
            </a:lvl4pPr>
            <a:lvl5pPr marL="859155" indent="0">
              <a:buNone/>
              <a:defRPr/>
            </a:lvl5pPr>
          </a:lstStyle>
          <a:p>
            <a:pPr lvl="0"/>
            <a:r>
              <a:rPr lang="en-US" noProof="1"/>
              <a:t>Subtitle Placeholder</a:t>
            </a:r>
          </a:p>
        </p:txBody>
      </p:sp>
      <p:sp>
        <p:nvSpPr>
          <p:cNvPr id="13" name="Slide Number Placeholder 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457200">
              <a:defRPr>
                <a:solidFill>
                  <a:srgbClr val="555555"/>
                </a:solidFill>
              </a:defRPr>
            </a:lvl1pPr>
          </a:lstStyle>
          <a:p>
            <a:fld id="{97B62294-A33C-4AD4-8435-E31420A8F13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8845674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2238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2238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138835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285750" y="1257300"/>
            <a:ext cx="565785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5050" y="1257300"/>
            <a:ext cx="274320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05FBAC06-24A1-4355-812B-5702A0A4DED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8363683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, SPLIT 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2"/>
          <p:cNvSpPr>
            <a:spLocks noGrp="1"/>
          </p:cNvSpPr>
          <p:nvPr>
            <p:ph sz="half" idx="10"/>
          </p:nvPr>
        </p:nvSpPr>
        <p:spPr>
          <a:xfrm>
            <a:off x="285750" y="1257300"/>
            <a:ext cx="5657850" cy="4572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5050" y="12573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6115050" y="3619500"/>
            <a:ext cx="2743200" cy="2209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1"/>
              <a:t>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US" noProof="1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351776"/>
            <a:ext cx="8572500" cy="131574"/>
          </a:xfrm>
        </p:spPr>
        <p:txBody>
          <a:bodyPr tIns="0" bIns="0" anchor="b">
            <a:sp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B7593330-5422-4216-9C81-EBA7F4E11F1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572485507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4" y="71723"/>
            <a:ext cx="8572499" cy="977153"/>
          </a:xfrm>
        </p:spPr>
        <p:txBody>
          <a:bodyPr/>
          <a:lstStyle/>
          <a:p>
            <a:r>
              <a:rPr lang="en-US" noProof="1"/>
              <a:t>Click to edit Master title style</a:t>
            </a: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172200"/>
            <a:ext cx="8572500" cy="31115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7A3D7BE8-5171-4F22-8C0D-B532F52D1CEB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380680117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285750" y="6172200"/>
            <a:ext cx="8572500" cy="311150"/>
          </a:xfrm>
        </p:spPr>
        <p:txBody>
          <a:bodyPr tIns="0" bIns="0" anchor="b">
            <a:noAutofit/>
          </a:bodyPr>
          <a:lstStyle>
            <a:lvl1pPr marL="0" indent="0">
              <a:buNone/>
              <a:defRPr sz="900"/>
            </a:lvl1pPr>
            <a:lvl2pPr marL="231775" indent="0">
              <a:buNone/>
              <a:defRPr sz="1000"/>
            </a:lvl2pPr>
            <a:lvl3pPr marL="461645" indent="0">
              <a:buNone/>
              <a:defRPr sz="1000"/>
            </a:lvl3pPr>
            <a:lvl4pPr marL="682625" indent="0">
              <a:buNone/>
              <a:defRPr sz="1000"/>
            </a:lvl4pPr>
            <a:lvl5pPr marL="859155" indent="0">
              <a:buNone/>
              <a:defRPr sz="1000"/>
            </a:lvl5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3CACA6F5-50CE-4081-8212-DD4DEF25B78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84452220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3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4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Arial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4380A9B-76CE-43B6-B1EE-F232561D1FC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13294874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7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0534" y="6495484"/>
            <a:ext cx="7885509" cy="238527"/>
          </a:xfrm>
        </p:spPr>
        <p:txBody>
          <a:bodyPr anchor="b">
            <a:spAutoFit/>
          </a:bodyPr>
          <a:lstStyle>
            <a:lvl1pPr>
              <a:spcBef>
                <a:spcPts val="400"/>
              </a:spcBef>
              <a:defRPr sz="10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1"/>
          </p:nvPr>
        </p:nvSpPr>
        <p:spPr>
          <a:xfrm>
            <a:off x="8757049" y="6588132"/>
            <a:ext cx="259556" cy="168275"/>
          </a:xfrm>
        </p:spPr>
        <p:txBody>
          <a:bodyPr>
            <a:spAutoFit/>
          </a:bodyPr>
          <a:lstStyle>
            <a:lvl1pPr algn="r">
              <a:defRPr sz="1100">
                <a:solidFill>
                  <a:srgbClr val="F2A900"/>
                </a:solidFill>
              </a:defRPr>
            </a:lvl1pPr>
          </a:lstStyle>
          <a:p>
            <a:fld id="{7AE2028A-3863-4E2F-AC0C-EB6BE2035D2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81903849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 hidden="1"/>
          <p:cNvSpPr>
            <a:spLocks noChangeAspect="1"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92" y="1595"/>
            <a:ext cx="1190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cxnSp>
        <p:nvCxnSpPr>
          <p:cNvPr id="7" name="Straight Connector 15"/>
          <p:cNvCxnSpPr/>
          <p:nvPr userDrawn="1"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1"/>
              <a:t>Click to edit Master title style</a:t>
            </a:r>
            <a:endParaRPr lang="en-GB" noProof="1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40534" y="6495484"/>
            <a:ext cx="7885509" cy="238527"/>
          </a:xfrm>
        </p:spPr>
        <p:txBody>
          <a:bodyPr anchor="b">
            <a:spAutoFit/>
          </a:bodyPr>
          <a:lstStyle>
            <a:lvl1pPr>
              <a:spcBef>
                <a:spcPts val="400"/>
              </a:spcBef>
              <a:defRPr sz="1000">
                <a:solidFill>
                  <a:schemeClr val="accent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noProof="1"/>
              <a:t>Edit Master text styles</a:t>
            </a:r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1"/>
          </p:nvPr>
        </p:nvSpPr>
        <p:spPr>
          <a:xfrm>
            <a:off x="8757049" y="6588132"/>
            <a:ext cx="259556" cy="168275"/>
          </a:xfrm>
        </p:spPr>
        <p:txBody>
          <a:bodyPr>
            <a:spAutoFit/>
          </a:bodyPr>
          <a:lstStyle>
            <a:lvl1pPr algn="r">
              <a:defRPr sz="1100">
                <a:solidFill>
                  <a:srgbClr val="F2A900"/>
                </a:solidFill>
              </a:defRPr>
            </a:lvl1pPr>
          </a:lstStyle>
          <a:p>
            <a:fld id="{777CA730-7331-4A76-9144-AB1E507D0C7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94297975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058145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8181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6"/>
            <a:ext cx="8077200" cy="869951"/>
          </a:xfrm>
        </p:spPr>
        <p:txBody>
          <a:bodyPr/>
          <a:lstStyle>
            <a:lvl1pPr algn="l">
              <a:buNone/>
              <a:defRPr sz="4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D385F4-84D4-4280-8774-E8E5974B822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86BE8-9196-45CC-B370-5BFF069147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6898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97877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01695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87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190550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76514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4737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4737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91679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Заголовок, клип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Клип 2"/>
          <p:cNvSpPr>
            <a:spLocks noGrp="1"/>
          </p:cNvSpPr>
          <p:nvPr>
            <p:ph type="clipArt" sz="half" idx="1"/>
          </p:nvPr>
        </p:nvSpPr>
        <p:spPr>
          <a:xfrm>
            <a:off x="457200" y="122238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22238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35041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22238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41475498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22238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155637485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4737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5790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Заголовок, 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48101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sz="half" idx="1"/>
          </p:nvPr>
        </p:nvSpPr>
        <p:spPr>
          <a:xfrm>
            <a:off x="457200" y="1222380"/>
            <a:ext cx="4038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648200" y="122238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7063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white">
          <a:xfrm>
            <a:off x="-9525" y="4572032"/>
            <a:ext cx="9144000" cy="887413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9522" y="4664075"/>
            <a:ext cx="1463675" cy="7127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544638" y="4654551"/>
            <a:ext cx="7599362" cy="712788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1447837" y="3"/>
            <a:ext cx="100013" cy="6867525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9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32"/>
            <a:ext cx="2667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7F85486C-436F-497E-BDAE-205715228430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10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331"/>
            <a:ext cx="1447800" cy="663575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C7785D64-08EA-4908-BA29-93F85B71BB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432"/>
            <a:ext cx="4572000" cy="365125"/>
          </a:xfrm>
        </p:spPr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969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362950" cy="97155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458915"/>
            <a:ext cx="4133850" cy="47196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43450" y="1458915"/>
            <a:ext cx="4133850" cy="47196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10400" y="6667503"/>
            <a:ext cx="2133600" cy="190500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cs typeface="+mn-cs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9F2128E1-FD8D-4BBA-AC53-5F1049ACDFAB}" type="slidenum">
              <a:rPr lang="en-US" sz="90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36585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8288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8288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62400"/>
            <a:ext cx="3810000" cy="1981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966977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897BB1F6-3F85-4FB5-B43B-56784AC64D12}" type="slidenum">
              <a:rPr lang="ru-RU" sz="900">
                <a:solidFill>
                  <a:srgbClr val="FFFFFF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90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2467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921433" y="1413803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1157290" y="1344694"/>
            <a:ext cx="63500" cy="65087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7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2EDDD6-403B-4D3D-8982-7C9324624B2D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A9F1EF-5EA5-49CC-A893-158A3694720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244882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554FB8-E21D-43B6-B95D-EA39DE8BE7FB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D0CC60-53EB-4F06-AF99-D71AC1DA61BA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982641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282825" y="0"/>
            <a:ext cx="68580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invGray">
          <a:xfrm>
            <a:off x="2286000" y="0"/>
            <a:ext cx="76200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408239" y="2746375"/>
            <a:ext cx="63500" cy="63500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33E8F0-7837-48E4-873D-66CECB91CF7A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1A7B81-ABCB-4A4D-8571-D6600C42E8D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21897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6412F-64CA-4375-B994-3A28D73380A3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7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389975F-AA6D-4E97-978A-9CB59CE0F80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011092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/>
          <a:lstStyle>
            <a:lvl1pPr algn="ctr">
              <a:defRPr sz="4500" b="1" cap="none" baseline="0"/>
            </a:lvl1pPr>
            <a:extLst/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9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9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C3F4FB-347F-43D1-8DC4-EC54F6026227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F5F702-85EF-4A4B-8323-ABB13C63E6E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575821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91F0F6-22D3-495D-B010-050E569DE528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4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омер слайда 2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CF0557-16BB-453F-85D0-69551ED79C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6206848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14419" y="0"/>
            <a:ext cx="8129587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 bwMode="invGray">
          <a:xfrm>
            <a:off x="1014440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71D43-AFFF-4FAA-9245-400036AE8632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435F0B-16B6-47F9-9D63-BEC98EF5636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49364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78.xml"/><Relationship Id="rId16" Type="http://schemas.openxmlformats.org/officeDocument/2006/relationships/theme" Target="../theme/theme13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6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1.xml"/><Relationship Id="rId16" Type="http://schemas.openxmlformats.org/officeDocument/2006/relationships/theme" Target="../theme/theme16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37.xml"/><Relationship Id="rId7" Type="http://schemas.openxmlformats.org/officeDocument/2006/relationships/slideLayout" Target="../slideLayouts/slideLayout241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58.xml"/><Relationship Id="rId16" Type="http://schemas.openxmlformats.org/officeDocument/2006/relationships/theme" Target="../theme/theme19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slideLayout" Target="../slideLayouts/slideLayout284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14" Type="http://schemas.openxmlformats.org/officeDocument/2006/relationships/slideLayout" Target="../slideLayouts/slideLayout28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9.xml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8.xml"/><Relationship Id="rId2" Type="http://schemas.openxmlformats.org/officeDocument/2006/relationships/slideLayout" Target="../slideLayouts/slideLayout288.xml"/><Relationship Id="rId16" Type="http://schemas.openxmlformats.org/officeDocument/2006/relationships/theme" Target="../theme/theme21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slideLayout" Target="../slideLayouts/slideLayout30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9.xml"/><Relationship Id="rId13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308.xml"/><Relationship Id="rId12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3.xml"/><Relationship Id="rId16" Type="http://schemas.openxmlformats.org/officeDocument/2006/relationships/theme" Target="../theme/theme22.xml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306.xml"/><Relationship Id="rId15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311.xml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4" Type="http://schemas.openxmlformats.org/officeDocument/2006/relationships/slideLayout" Target="../slideLayouts/slideLayout315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5.xml"/><Relationship Id="rId13" Type="http://schemas.openxmlformats.org/officeDocument/2006/relationships/slideLayout" Target="../slideLayouts/slideLayout340.xml"/><Relationship Id="rId18" Type="http://schemas.openxmlformats.org/officeDocument/2006/relationships/theme" Target="../theme/theme24.xml"/><Relationship Id="rId3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334.xml"/><Relationship Id="rId12" Type="http://schemas.openxmlformats.org/officeDocument/2006/relationships/slideLayout" Target="../slideLayouts/slideLayout339.xml"/><Relationship Id="rId17" Type="http://schemas.openxmlformats.org/officeDocument/2006/relationships/slideLayout" Target="../slideLayouts/slideLayout344.xml"/><Relationship Id="rId2" Type="http://schemas.openxmlformats.org/officeDocument/2006/relationships/slideLayout" Target="../slideLayouts/slideLayout329.xml"/><Relationship Id="rId16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28.xml"/><Relationship Id="rId6" Type="http://schemas.openxmlformats.org/officeDocument/2006/relationships/slideLayout" Target="../slideLayouts/slideLayout333.xml"/><Relationship Id="rId11" Type="http://schemas.openxmlformats.org/officeDocument/2006/relationships/slideLayout" Target="../slideLayouts/slideLayout338.xml"/><Relationship Id="rId5" Type="http://schemas.openxmlformats.org/officeDocument/2006/relationships/slideLayout" Target="../slideLayouts/slideLayout332.xml"/><Relationship Id="rId15" Type="http://schemas.openxmlformats.org/officeDocument/2006/relationships/slideLayout" Target="../slideLayouts/slideLayout342.xml"/><Relationship Id="rId10" Type="http://schemas.openxmlformats.org/officeDocument/2006/relationships/slideLayout" Target="../slideLayouts/slideLayout337.xml"/><Relationship Id="rId4" Type="http://schemas.openxmlformats.org/officeDocument/2006/relationships/slideLayout" Target="../slideLayouts/slideLayout331.xml"/><Relationship Id="rId9" Type="http://schemas.openxmlformats.org/officeDocument/2006/relationships/slideLayout" Target="../slideLayouts/slideLayout336.xml"/><Relationship Id="rId14" Type="http://schemas.openxmlformats.org/officeDocument/2006/relationships/slideLayout" Target="../slideLayouts/slideLayout34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slideLayout" Target="../slideLayouts/slideLayout357.xml"/><Relationship Id="rId18" Type="http://schemas.openxmlformats.org/officeDocument/2006/relationships/theme" Target="../theme/theme25.xml"/><Relationship Id="rId3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56.xml"/><Relationship Id="rId17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46.xml"/><Relationship Id="rId16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49.xml"/><Relationship Id="rId15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54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slideLayout" Target="../slideLayouts/slideLayout35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slideLayout" Target="../slideLayouts/slideLayout374.xml"/><Relationship Id="rId18" Type="http://schemas.openxmlformats.org/officeDocument/2006/relationships/theme" Target="../theme/theme26.xml"/><Relationship Id="rId3" Type="http://schemas.openxmlformats.org/officeDocument/2006/relationships/slideLayout" Target="../slideLayouts/slideLayout364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slideLayout" Target="../slideLayouts/slideLayout378.xml"/><Relationship Id="rId2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77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10" Type="http://schemas.openxmlformats.org/officeDocument/2006/relationships/slideLayout" Target="../slideLayouts/slideLayout371.xml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1.xml"/><Relationship Id="rId18" Type="http://schemas.openxmlformats.org/officeDocument/2006/relationships/slideLayout" Target="../slideLayouts/slideLayout396.xml"/><Relationship Id="rId3" Type="http://schemas.openxmlformats.org/officeDocument/2006/relationships/slideLayout" Target="../slideLayouts/slideLayout381.xml"/><Relationship Id="rId21" Type="http://schemas.openxmlformats.org/officeDocument/2006/relationships/slideLayout" Target="../slideLayouts/slideLayout399.xml"/><Relationship Id="rId7" Type="http://schemas.openxmlformats.org/officeDocument/2006/relationships/slideLayout" Target="../slideLayouts/slideLayout385.xml"/><Relationship Id="rId12" Type="http://schemas.openxmlformats.org/officeDocument/2006/relationships/slideLayout" Target="../slideLayouts/slideLayout390.xml"/><Relationship Id="rId17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80.xml"/><Relationship Id="rId16" Type="http://schemas.openxmlformats.org/officeDocument/2006/relationships/slideLayout" Target="../slideLayouts/slideLayout394.xml"/><Relationship Id="rId20" Type="http://schemas.openxmlformats.org/officeDocument/2006/relationships/slideLayout" Target="../slideLayouts/slideLayout398.xml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1" Type="http://schemas.openxmlformats.org/officeDocument/2006/relationships/slideLayout" Target="../slideLayouts/slideLayout389.xml"/><Relationship Id="rId5" Type="http://schemas.openxmlformats.org/officeDocument/2006/relationships/slideLayout" Target="../slideLayouts/slideLayout383.xml"/><Relationship Id="rId15" Type="http://schemas.openxmlformats.org/officeDocument/2006/relationships/slideLayout" Target="../slideLayouts/slideLayout393.xml"/><Relationship Id="rId23" Type="http://schemas.openxmlformats.org/officeDocument/2006/relationships/theme" Target="../theme/theme27.xml"/><Relationship Id="rId10" Type="http://schemas.openxmlformats.org/officeDocument/2006/relationships/slideLayout" Target="../slideLayouts/slideLayout388.xml"/><Relationship Id="rId19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Relationship Id="rId14" Type="http://schemas.openxmlformats.org/officeDocument/2006/relationships/slideLayout" Target="../slideLayouts/slideLayout392.xml"/><Relationship Id="rId22" Type="http://schemas.openxmlformats.org/officeDocument/2006/relationships/slideLayout" Target="../slideLayouts/slideLayout400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8.xml"/><Relationship Id="rId13" Type="http://schemas.openxmlformats.org/officeDocument/2006/relationships/slideLayout" Target="../slideLayouts/slideLayout413.xml"/><Relationship Id="rId18" Type="http://schemas.openxmlformats.org/officeDocument/2006/relationships/slideLayout" Target="../slideLayouts/slideLayout418.xml"/><Relationship Id="rId3" Type="http://schemas.openxmlformats.org/officeDocument/2006/relationships/slideLayout" Target="../slideLayouts/slideLayout403.xml"/><Relationship Id="rId7" Type="http://schemas.openxmlformats.org/officeDocument/2006/relationships/slideLayout" Target="../slideLayouts/slideLayout407.xml"/><Relationship Id="rId12" Type="http://schemas.openxmlformats.org/officeDocument/2006/relationships/slideLayout" Target="../slideLayouts/slideLayout412.xml"/><Relationship Id="rId17" Type="http://schemas.openxmlformats.org/officeDocument/2006/relationships/slideLayout" Target="../slideLayouts/slideLayout417.xml"/><Relationship Id="rId2" Type="http://schemas.openxmlformats.org/officeDocument/2006/relationships/slideLayout" Target="../slideLayouts/slideLayout402.xml"/><Relationship Id="rId16" Type="http://schemas.openxmlformats.org/officeDocument/2006/relationships/slideLayout" Target="../slideLayouts/slideLayout416.xml"/><Relationship Id="rId20" Type="http://schemas.openxmlformats.org/officeDocument/2006/relationships/theme" Target="../theme/theme28.xml"/><Relationship Id="rId1" Type="http://schemas.openxmlformats.org/officeDocument/2006/relationships/slideLayout" Target="../slideLayouts/slideLayout401.xml"/><Relationship Id="rId6" Type="http://schemas.openxmlformats.org/officeDocument/2006/relationships/slideLayout" Target="../slideLayouts/slideLayout406.xml"/><Relationship Id="rId11" Type="http://schemas.openxmlformats.org/officeDocument/2006/relationships/slideLayout" Target="../slideLayouts/slideLayout411.xml"/><Relationship Id="rId5" Type="http://schemas.openxmlformats.org/officeDocument/2006/relationships/slideLayout" Target="../slideLayouts/slideLayout405.xml"/><Relationship Id="rId15" Type="http://schemas.openxmlformats.org/officeDocument/2006/relationships/slideLayout" Target="../slideLayouts/slideLayout415.xml"/><Relationship Id="rId10" Type="http://schemas.openxmlformats.org/officeDocument/2006/relationships/slideLayout" Target="../slideLayouts/slideLayout410.xml"/><Relationship Id="rId19" Type="http://schemas.openxmlformats.org/officeDocument/2006/relationships/slideLayout" Target="../slideLayouts/slideLayout419.xml"/><Relationship Id="rId4" Type="http://schemas.openxmlformats.org/officeDocument/2006/relationships/slideLayout" Target="../slideLayouts/slideLayout404.xml"/><Relationship Id="rId9" Type="http://schemas.openxmlformats.org/officeDocument/2006/relationships/slideLayout" Target="../slideLayouts/slideLayout409.xml"/><Relationship Id="rId14" Type="http://schemas.openxmlformats.org/officeDocument/2006/relationships/slideLayout" Target="../slideLayouts/slideLayout414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slideLayout" Target="../slideLayouts/slideLayout432.xml"/><Relationship Id="rId18" Type="http://schemas.openxmlformats.org/officeDocument/2006/relationships/theme" Target="../theme/theme29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31.xml"/><Relationship Id="rId17" Type="http://schemas.openxmlformats.org/officeDocument/2006/relationships/slideLayout" Target="../slideLayouts/slideLayout436.xml"/><Relationship Id="rId2" Type="http://schemas.openxmlformats.org/officeDocument/2006/relationships/slideLayout" Target="../slideLayouts/slideLayout421.xml"/><Relationship Id="rId16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5" Type="http://schemas.openxmlformats.org/officeDocument/2006/relationships/slideLayout" Target="../slideLayouts/slideLayout424.xml"/><Relationship Id="rId15" Type="http://schemas.openxmlformats.org/officeDocument/2006/relationships/slideLayout" Target="../slideLayouts/slideLayout434.xml"/><Relationship Id="rId10" Type="http://schemas.openxmlformats.org/officeDocument/2006/relationships/slideLayout" Target="../slideLayouts/slideLayout429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slideLayout" Target="../slideLayouts/slideLayout4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4.xml"/><Relationship Id="rId13" Type="http://schemas.openxmlformats.org/officeDocument/2006/relationships/slideLayout" Target="../slideLayouts/slideLayout449.xml"/><Relationship Id="rId18" Type="http://schemas.openxmlformats.org/officeDocument/2006/relationships/theme" Target="../theme/theme30.xml"/><Relationship Id="rId3" Type="http://schemas.openxmlformats.org/officeDocument/2006/relationships/slideLayout" Target="../slideLayouts/slideLayout439.xml"/><Relationship Id="rId7" Type="http://schemas.openxmlformats.org/officeDocument/2006/relationships/slideLayout" Target="../slideLayouts/slideLayout443.xml"/><Relationship Id="rId12" Type="http://schemas.openxmlformats.org/officeDocument/2006/relationships/slideLayout" Target="../slideLayouts/slideLayout448.xml"/><Relationship Id="rId17" Type="http://schemas.openxmlformats.org/officeDocument/2006/relationships/slideLayout" Target="../slideLayouts/slideLayout453.xml"/><Relationship Id="rId2" Type="http://schemas.openxmlformats.org/officeDocument/2006/relationships/slideLayout" Target="../slideLayouts/slideLayout438.xml"/><Relationship Id="rId16" Type="http://schemas.openxmlformats.org/officeDocument/2006/relationships/slideLayout" Target="../slideLayouts/slideLayout452.xml"/><Relationship Id="rId1" Type="http://schemas.openxmlformats.org/officeDocument/2006/relationships/slideLayout" Target="../slideLayouts/slideLayout437.xml"/><Relationship Id="rId6" Type="http://schemas.openxmlformats.org/officeDocument/2006/relationships/slideLayout" Target="../slideLayouts/slideLayout442.xml"/><Relationship Id="rId11" Type="http://schemas.openxmlformats.org/officeDocument/2006/relationships/slideLayout" Target="../slideLayouts/slideLayout447.xml"/><Relationship Id="rId5" Type="http://schemas.openxmlformats.org/officeDocument/2006/relationships/slideLayout" Target="../slideLayouts/slideLayout441.xml"/><Relationship Id="rId15" Type="http://schemas.openxmlformats.org/officeDocument/2006/relationships/slideLayout" Target="../slideLayouts/slideLayout451.xml"/><Relationship Id="rId10" Type="http://schemas.openxmlformats.org/officeDocument/2006/relationships/slideLayout" Target="../slideLayouts/slideLayout446.xml"/><Relationship Id="rId4" Type="http://schemas.openxmlformats.org/officeDocument/2006/relationships/slideLayout" Target="../slideLayouts/slideLayout440.xml"/><Relationship Id="rId9" Type="http://schemas.openxmlformats.org/officeDocument/2006/relationships/slideLayout" Target="../slideLayouts/slideLayout445.xml"/><Relationship Id="rId14" Type="http://schemas.openxmlformats.org/officeDocument/2006/relationships/slideLayout" Target="../slideLayouts/slideLayout450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1.xml"/><Relationship Id="rId13" Type="http://schemas.openxmlformats.org/officeDocument/2006/relationships/slideLayout" Target="../slideLayouts/slideLayout466.xml"/><Relationship Id="rId18" Type="http://schemas.openxmlformats.org/officeDocument/2006/relationships/theme" Target="../theme/theme31.xml"/><Relationship Id="rId3" Type="http://schemas.openxmlformats.org/officeDocument/2006/relationships/slideLayout" Target="../slideLayouts/slideLayout456.xml"/><Relationship Id="rId7" Type="http://schemas.openxmlformats.org/officeDocument/2006/relationships/slideLayout" Target="../slideLayouts/slideLayout460.xml"/><Relationship Id="rId12" Type="http://schemas.openxmlformats.org/officeDocument/2006/relationships/slideLayout" Target="../slideLayouts/slideLayout465.xml"/><Relationship Id="rId17" Type="http://schemas.openxmlformats.org/officeDocument/2006/relationships/slideLayout" Target="../slideLayouts/slideLayout470.xml"/><Relationship Id="rId2" Type="http://schemas.openxmlformats.org/officeDocument/2006/relationships/slideLayout" Target="../slideLayouts/slideLayout455.xml"/><Relationship Id="rId16" Type="http://schemas.openxmlformats.org/officeDocument/2006/relationships/slideLayout" Target="../slideLayouts/slideLayout469.xml"/><Relationship Id="rId1" Type="http://schemas.openxmlformats.org/officeDocument/2006/relationships/slideLayout" Target="../slideLayouts/slideLayout454.xml"/><Relationship Id="rId6" Type="http://schemas.openxmlformats.org/officeDocument/2006/relationships/slideLayout" Target="../slideLayouts/slideLayout459.xml"/><Relationship Id="rId11" Type="http://schemas.openxmlformats.org/officeDocument/2006/relationships/slideLayout" Target="../slideLayouts/slideLayout464.xml"/><Relationship Id="rId5" Type="http://schemas.openxmlformats.org/officeDocument/2006/relationships/slideLayout" Target="../slideLayouts/slideLayout458.xml"/><Relationship Id="rId15" Type="http://schemas.openxmlformats.org/officeDocument/2006/relationships/slideLayout" Target="../slideLayouts/slideLayout468.xml"/><Relationship Id="rId10" Type="http://schemas.openxmlformats.org/officeDocument/2006/relationships/slideLayout" Target="../slideLayouts/slideLayout463.xml"/><Relationship Id="rId4" Type="http://schemas.openxmlformats.org/officeDocument/2006/relationships/slideLayout" Target="../slideLayouts/slideLayout457.xml"/><Relationship Id="rId9" Type="http://schemas.openxmlformats.org/officeDocument/2006/relationships/slideLayout" Target="../slideLayouts/slideLayout462.xml"/><Relationship Id="rId14" Type="http://schemas.openxmlformats.org/officeDocument/2006/relationships/slideLayout" Target="../slideLayouts/slideLayout467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8.xml"/><Relationship Id="rId13" Type="http://schemas.openxmlformats.org/officeDocument/2006/relationships/slideLayout" Target="../slideLayouts/slideLayout483.xml"/><Relationship Id="rId18" Type="http://schemas.openxmlformats.org/officeDocument/2006/relationships/theme" Target="../theme/theme32.xml"/><Relationship Id="rId3" Type="http://schemas.openxmlformats.org/officeDocument/2006/relationships/slideLayout" Target="../slideLayouts/slideLayout473.xml"/><Relationship Id="rId7" Type="http://schemas.openxmlformats.org/officeDocument/2006/relationships/slideLayout" Target="../slideLayouts/slideLayout477.xml"/><Relationship Id="rId12" Type="http://schemas.openxmlformats.org/officeDocument/2006/relationships/slideLayout" Target="../slideLayouts/slideLayout482.xml"/><Relationship Id="rId17" Type="http://schemas.openxmlformats.org/officeDocument/2006/relationships/slideLayout" Target="../slideLayouts/slideLayout487.xml"/><Relationship Id="rId2" Type="http://schemas.openxmlformats.org/officeDocument/2006/relationships/slideLayout" Target="../slideLayouts/slideLayout472.xml"/><Relationship Id="rId16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71.xml"/><Relationship Id="rId6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81.xml"/><Relationship Id="rId5" Type="http://schemas.openxmlformats.org/officeDocument/2006/relationships/slideLayout" Target="../slideLayouts/slideLayout475.xml"/><Relationship Id="rId15" Type="http://schemas.openxmlformats.org/officeDocument/2006/relationships/slideLayout" Target="../slideLayouts/slideLayout485.xml"/><Relationship Id="rId10" Type="http://schemas.openxmlformats.org/officeDocument/2006/relationships/slideLayout" Target="../slideLayouts/slideLayout480.xml"/><Relationship Id="rId4" Type="http://schemas.openxmlformats.org/officeDocument/2006/relationships/slideLayout" Target="../slideLayouts/slideLayout474.xml"/><Relationship Id="rId9" Type="http://schemas.openxmlformats.org/officeDocument/2006/relationships/slideLayout" Target="../slideLayouts/slideLayout479.xml"/><Relationship Id="rId14" Type="http://schemas.openxmlformats.org/officeDocument/2006/relationships/slideLayout" Target="../slideLayouts/slideLayout484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5.xml"/><Relationship Id="rId13" Type="http://schemas.openxmlformats.org/officeDocument/2006/relationships/slideLayout" Target="../slideLayouts/slideLayout500.xml"/><Relationship Id="rId3" Type="http://schemas.openxmlformats.org/officeDocument/2006/relationships/slideLayout" Target="../slideLayouts/slideLayout490.xml"/><Relationship Id="rId7" Type="http://schemas.openxmlformats.org/officeDocument/2006/relationships/slideLayout" Target="../slideLayouts/slideLayout494.xml"/><Relationship Id="rId12" Type="http://schemas.openxmlformats.org/officeDocument/2006/relationships/slideLayout" Target="../slideLayouts/slideLayout499.xml"/><Relationship Id="rId2" Type="http://schemas.openxmlformats.org/officeDocument/2006/relationships/slideLayout" Target="../slideLayouts/slideLayout489.xml"/><Relationship Id="rId16" Type="http://schemas.openxmlformats.org/officeDocument/2006/relationships/theme" Target="../theme/theme33.xml"/><Relationship Id="rId1" Type="http://schemas.openxmlformats.org/officeDocument/2006/relationships/slideLayout" Target="../slideLayouts/slideLayout488.xml"/><Relationship Id="rId6" Type="http://schemas.openxmlformats.org/officeDocument/2006/relationships/slideLayout" Target="../slideLayouts/slideLayout493.xml"/><Relationship Id="rId11" Type="http://schemas.openxmlformats.org/officeDocument/2006/relationships/slideLayout" Target="../slideLayouts/slideLayout498.xml"/><Relationship Id="rId5" Type="http://schemas.openxmlformats.org/officeDocument/2006/relationships/slideLayout" Target="../slideLayouts/slideLayout492.xml"/><Relationship Id="rId15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497.xml"/><Relationship Id="rId4" Type="http://schemas.openxmlformats.org/officeDocument/2006/relationships/slideLayout" Target="../slideLayouts/slideLayout491.xml"/><Relationship Id="rId9" Type="http://schemas.openxmlformats.org/officeDocument/2006/relationships/slideLayout" Target="../slideLayouts/slideLayout496.xml"/><Relationship Id="rId14" Type="http://schemas.openxmlformats.org/officeDocument/2006/relationships/slideLayout" Target="../slideLayouts/slideLayout501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0.xml"/><Relationship Id="rId13" Type="http://schemas.openxmlformats.org/officeDocument/2006/relationships/slideLayout" Target="../slideLayouts/slideLayout515.xml"/><Relationship Id="rId3" Type="http://schemas.openxmlformats.org/officeDocument/2006/relationships/slideLayout" Target="../slideLayouts/slideLayout505.xml"/><Relationship Id="rId7" Type="http://schemas.openxmlformats.org/officeDocument/2006/relationships/slideLayout" Target="../slideLayouts/slideLayout509.xml"/><Relationship Id="rId12" Type="http://schemas.openxmlformats.org/officeDocument/2006/relationships/slideLayout" Target="../slideLayouts/slideLayout514.xml"/><Relationship Id="rId2" Type="http://schemas.openxmlformats.org/officeDocument/2006/relationships/slideLayout" Target="../slideLayouts/slideLayout504.xml"/><Relationship Id="rId16" Type="http://schemas.openxmlformats.org/officeDocument/2006/relationships/theme" Target="../theme/theme34.xml"/><Relationship Id="rId1" Type="http://schemas.openxmlformats.org/officeDocument/2006/relationships/slideLayout" Target="../slideLayouts/slideLayout503.xml"/><Relationship Id="rId6" Type="http://schemas.openxmlformats.org/officeDocument/2006/relationships/slideLayout" Target="../slideLayouts/slideLayout508.xml"/><Relationship Id="rId11" Type="http://schemas.openxmlformats.org/officeDocument/2006/relationships/slideLayout" Target="../slideLayouts/slideLayout513.xml"/><Relationship Id="rId5" Type="http://schemas.openxmlformats.org/officeDocument/2006/relationships/slideLayout" Target="../slideLayouts/slideLayout507.xml"/><Relationship Id="rId15" Type="http://schemas.openxmlformats.org/officeDocument/2006/relationships/slideLayout" Target="../slideLayouts/slideLayout517.xml"/><Relationship Id="rId10" Type="http://schemas.openxmlformats.org/officeDocument/2006/relationships/slideLayout" Target="../slideLayouts/slideLayout512.xml"/><Relationship Id="rId4" Type="http://schemas.openxmlformats.org/officeDocument/2006/relationships/slideLayout" Target="../slideLayouts/slideLayout506.xml"/><Relationship Id="rId9" Type="http://schemas.openxmlformats.org/officeDocument/2006/relationships/slideLayout" Target="../slideLayouts/slideLayout511.xml"/><Relationship Id="rId14" Type="http://schemas.openxmlformats.org/officeDocument/2006/relationships/slideLayout" Target="../slideLayouts/slideLayout516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5.xml"/><Relationship Id="rId13" Type="http://schemas.openxmlformats.org/officeDocument/2006/relationships/slideLayout" Target="../slideLayouts/slideLayout530.xml"/><Relationship Id="rId3" Type="http://schemas.openxmlformats.org/officeDocument/2006/relationships/slideLayout" Target="../slideLayouts/slideLayout520.xml"/><Relationship Id="rId7" Type="http://schemas.openxmlformats.org/officeDocument/2006/relationships/slideLayout" Target="../slideLayouts/slideLayout524.xml"/><Relationship Id="rId12" Type="http://schemas.openxmlformats.org/officeDocument/2006/relationships/slideLayout" Target="../slideLayouts/slideLayout529.xml"/><Relationship Id="rId2" Type="http://schemas.openxmlformats.org/officeDocument/2006/relationships/slideLayout" Target="../slideLayouts/slideLayout519.xml"/><Relationship Id="rId1" Type="http://schemas.openxmlformats.org/officeDocument/2006/relationships/slideLayout" Target="../slideLayouts/slideLayout518.xml"/><Relationship Id="rId6" Type="http://schemas.openxmlformats.org/officeDocument/2006/relationships/slideLayout" Target="../slideLayouts/slideLayout523.xml"/><Relationship Id="rId11" Type="http://schemas.openxmlformats.org/officeDocument/2006/relationships/slideLayout" Target="../slideLayouts/slideLayout528.xml"/><Relationship Id="rId5" Type="http://schemas.openxmlformats.org/officeDocument/2006/relationships/slideLayout" Target="../slideLayouts/slideLayout522.xml"/><Relationship Id="rId10" Type="http://schemas.openxmlformats.org/officeDocument/2006/relationships/slideLayout" Target="../slideLayouts/slideLayout527.xml"/><Relationship Id="rId4" Type="http://schemas.openxmlformats.org/officeDocument/2006/relationships/slideLayout" Target="../slideLayouts/slideLayout521.xml"/><Relationship Id="rId9" Type="http://schemas.openxmlformats.org/officeDocument/2006/relationships/slideLayout" Target="../slideLayouts/slideLayout526.xml"/><Relationship Id="rId14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8.xml"/><Relationship Id="rId13" Type="http://schemas.openxmlformats.org/officeDocument/2006/relationships/slideLayout" Target="../slideLayouts/slideLayout543.xml"/><Relationship Id="rId3" Type="http://schemas.openxmlformats.org/officeDocument/2006/relationships/slideLayout" Target="../slideLayouts/slideLayout533.xml"/><Relationship Id="rId7" Type="http://schemas.openxmlformats.org/officeDocument/2006/relationships/slideLayout" Target="../slideLayouts/slideLayout537.xml"/><Relationship Id="rId12" Type="http://schemas.openxmlformats.org/officeDocument/2006/relationships/slideLayout" Target="../slideLayouts/slideLayout542.xml"/><Relationship Id="rId2" Type="http://schemas.openxmlformats.org/officeDocument/2006/relationships/slideLayout" Target="../slideLayouts/slideLayout532.xml"/><Relationship Id="rId16" Type="http://schemas.openxmlformats.org/officeDocument/2006/relationships/theme" Target="../theme/theme36.xml"/><Relationship Id="rId1" Type="http://schemas.openxmlformats.org/officeDocument/2006/relationships/slideLayout" Target="../slideLayouts/slideLayout531.xml"/><Relationship Id="rId6" Type="http://schemas.openxmlformats.org/officeDocument/2006/relationships/slideLayout" Target="../slideLayouts/slideLayout536.xml"/><Relationship Id="rId11" Type="http://schemas.openxmlformats.org/officeDocument/2006/relationships/slideLayout" Target="../slideLayouts/slideLayout541.xml"/><Relationship Id="rId5" Type="http://schemas.openxmlformats.org/officeDocument/2006/relationships/slideLayout" Target="../slideLayouts/slideLayout535.xml"/><Relationship Id="rId15" Type="http://schemas.openxmlformats.org/officeDocument/2006/relationships/slideLayout" Target="../slideLayouts/slideLayout545.xml"/><Relationship Id="rId10" Type="http://schemas.openxmlformats.org/officeDocument/2006/relationships/slideLayout" Target="../slideLayouts/slideLayout540.xml"/><Relationship Id="rId4" Type="http://schemas.openxmlformats.org/officeDocument/2006/relationships/slideLayout" Target="../slideLayouts/slideLayout534.xml"/><Relationship Id="rId9" Type="http://schemas.openxmlformats.org/officeDocument/2006/relationships/slideLayout" Target="../slideLayouts/slideLayout539.xml"/><Relationship Id="rId14" Type="http://schemas.openxmlformats.org/officeDocument/2006/relationships/slideLayout" Target="../slideLayouts/slideLayout544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slideLayout" Target="../slideLayouts/slideLayout558.xml"/><Relationship Id="rId3" Type="http://schemas.openxmlformats.org/officeDocument/2006/relationships/slideLayout" Target="../slideLayouts/slideLayout548.xml"/><Relationship Id="rId7" Type="http://schemas.openxmlformats.org/officeDocument/2006/relationships/slideLayout" Target="../slideLayouts/slideLayout552.xml"/><Relationship Id="rId12" Type="http://schemas.openxmlformats.org/officeDocument/2006/relationships/slideLayout" Target="../slideLayouts/slideLayout557.xml"/><Relationship Id="rId2" Type="http://schemas.openxmlformats.org/officeDocument/2006/relationships/slideLayout" Target="../slideLayouts/slideLayout547.xml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50.xml"/><Relationship Id="rId15" Type="http://schemas.openxmlformats.org/officeDocument/2006/relationships/theme" Target="../theme/theme37.xml"/><Relationship Id="rId10" Type="http://schemas.openxmlformats.org/officeDocument/2006/relationships/slideLayout" Target="../slideLayouts/slideLayout555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slideLayout" Target="../slideLayouts/slideLayout559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slideLayout" Target="../slideLayouts/slideLayout572.xml"/><Relationship Id="rId3" Type="http://schemas.openxmlformats.org/officeDocument/2006/relationships/slideLayout" Target="../slideLayouts/slideLayout562.xml"/><Relationship Id="rId7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1.xml"/><Relationship Id="rId2" Type="http://schemas.openxmlformats.org/officeDocument/2006/relationships/slideLayout" Target="../slideLayouts/slideLayout561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70.xml"/><Relationship Id="rId5" Type="http://schemas.openxmlformats.org/officeDocument/2006/relationships/slideLayout" Target="../slideLayouts/slideLayout564.xml"/><Relationship Id="rId15" Type="http://schemas.openxmlformats.org/officeDocument/2006/relationships/theme" Target="../theme/theme38.xml"/><Relationship Id="rId10" Type="http://schemas.openxmlformats.org/officeDocument/2006/relationships/slideLayout" Target="../slideLayouts/slideLayout569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slideLayout" Target="../slideLayouts/slideLayout573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1.xml"/><Relationship Id="rId3" Type="http://schemas.openxmlformats.org/officeDocument/2006/relationships/slideLayout" Target="../slideLayouts/slideLayout576.xml"/><Relationship Id="rId7" Type="http://schemas.openxmlformats.org/officeDocument/2006/relationships/slideLayout" Target="../slideLayouts/slideLayout580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575.xml"/><Relationship Id="rId1" Type="http://schemas.openxmlformats.org/officeDocument/2006/relationships/slideLayout" Target="../slideLayouts/slideLayout574.xml"/><Relationship Id="rId6" Type="http://schemas.openxmlformats.org/officeDocument/2006/relationships/slideLayout" Target="../slideLayouts/slideLayout579.xml"/><Relationship Id="rId11" Type="http://schemas.openxmlformats.org/officeDocument/2006/relationships/slideLayout" Target="../slideLayouts/slideLayout584.xml"/><Relationship Id="rId5" Type="http://schemas.openxmlformats.org/officeDocument/2006/relationships/slideLayout" Target="../slideLayouts/slideLayout578.xml"/><Relationship Id="rId10" Type="http://schemas.openxmlformats.org/officeDocument/2006/relationships/slideLayout" Target="../slideLayouts/slideLayout583.xml"/><Relationship Id="rId4" Type="http://schemas.openxmlformats.org/officeDocument/2006/relationships/slideLayout" Target="../slideLayouts/slideLayout577.xml"/><Relationship Id="rId9" Type="http://schemas.openxmlformats.org/officeDocument/2006/relationships/slideLayout" Target="../slideLayouts/slideLayout58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2.xml"/><Relationship Id="rId13" Type="http://schemas.openxmlformats.org/officeDocument/2006/relationships/slideLayout" Target="../slideLayouts/slideLayout597.xml"/><Relationship Id="rId18" Type="http://schemas.openxmlformats.org/officeDocument/2006/relationships/theme" Target="../theme/theme40.xml"/><Relationship Id="rId3" Type="http://schemas.openxmlformats.org/officeDocument/2006/relationships/slideLayout" Target="../slideLayouts/slideLayout587.xml"/><Relationship Id="rId7" Type="http://schemas.openxmlformats.org/officeDocument/2006/relationships/slideLayout" Target="../slideLayouts/slideLayout591.xml"/><Relationship Id="rId12" Type="http://schemas.openxmlformats.org/officeDocument/2006/relationships/slideLayout" Target="../slideLayouts/slideLayout596.xml"/><Relationship Id="rId17" Type="http://schemas.openxmlformats.org/officeDocument/2006/relationships/slideLayout" Target="../slideLayouts/slideLayout601.xml"/><Relationship Id="rId2" Type="http://schemas.openxmlformats.org/officeDocument/2006/relationships/slideLayout" Target="../slideLayouts/slideLayout586.xml"/><Relationship Id="rId16" Type="http://schemas.openxmlformats.org/officeDocument/2006/relationships/slideLayout" Target="../slideLayouts/slideLayout600.xml"/><Relationship Id="rId1" Type="http://schemas.openxmlformats.org/officeDocument/2006/relationships/slideLayout" Target="../slideLayouts/slideLayout585.xml"/><Relationship Id="rId6" Type="http://schemas.openxmlformats.org/officeDocument/2006/relationships/slideLayout" Target="../slideLayouts/slideLayout590.xml"/><Relationship Id="rId11" Type="http://schemas.openxmlformats.org/officeDocument/2006/relationships/slideLayout" Target="../slideLayouts/slideLayout595.xml"/><Relationship Id="rId5" Type="http://schemas.openxmlformats.org/officeDocument/2006/relationships/slideLayout" Target="../slideLayouts/slideLayout589.xml"/><Relationship Id="rId15" Type="http://schemas.openxmlformats.org/officeDocument/2006/relationships/slideLayout" Target="../slideLayouts/slideLayout599.xml"/><Relationship Id="rId10" Type="http://schemas.openxmlformats.org/officeDocument/2006/relationships/slideLayout" Target="../slideLayouts/slideLayout594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588.xml"/><Relationship Id="rId9" Type="http://schemas.openxmlformats.org/officeDocument/2006/relationships/slideLayout" Target="../slideLayouts/slideLayout593.xml"/><Relationship Id="rId14" Type="http://schemas.openxmlformats.org/officeDocument/2006/relationships/slideLayout" Target="../slideLayouts/slideLayout598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9.xml"/><Relationship Id="rId13" Type="http://schemas.openxmlformats.org/officeDocument/2006/relationships/slideLayout" Target="../slideLayouts/slideLayout614.xml"/><Relationship Id="rId3" Type="http://schemas.openxmlformats.org/officeDocument/2006/relationships/slideLayout" Target="../slideLayouts/slideLayout604.xml"/><Relationship Id="rId7" Type="http://schemas.openxmlformats.org/officeDocument/2006/relationships/slideLayout" Target="../slideLayouts/slideLayout608.xml"/><Relationship Id="rId12" Type="http://schemas.openxmlformats.org/officeDocument/2006/relationships/slideLayout" Target="../slideLayouts/slideLayout613.xml"/><Relationship Id="rId2" Type="http://schemas.openxmlformats.org/officeDocument/2006/relationships/slideLayout" Target="../slideLayouts/slideLayout603.xml"/><Relationship Id="rId1" Type="http://schemas.openxmlformats.org/officeDocument/2006/relationships/slideLayout" Target="../slideLayouts/slideLayout602.xml"/><Relationship Id="rId6" Type="http://schemas.openxmlformats.org/officeDocument/2006/relationships/slideLayout" Target="../slideLayouts/slideLayout607.xml"/><Relationship Id="rId11" Type="http://schemas.openxmlformats.org/officeDocument/2006/relationships/slideLayout" Target="../slideLayouts/slideLayout612.xml"/><Relationship Id="rId5" Type="http://schemas.openxmlformats.org/officeDocument/2006/relationships/slideLayout" Target="../slideLayouts/slideLayout606.xml"/><Relationship Id="rId15" Type="http://schemas.openxmlformats.org/officeDocument/2006/relationships/theme" Target="../theme/theme41.xml"/><Relationship Id="rId10" Type="http://schemas.openxmlformats.org/officeDocument/2006/relationships/slideLayout" Target="../slideLayouts/slideLayout611.xml"/><Relationship Id="rId4" Type="http://schemas.openxmlformats.org/officeDocument/2006/relationships/slideLayout" Target="../slideLayouts/slideLayout605.xml"/><Relationship Id="rId9" Type="http://schemas.openxmlformats.org/officeDocument/2006/relationships/slideLayout" Target="../slideLayouts/slideLayout610.xml"/><Relationship Id="rId14" Type="http://schemas.openxmlformats.org/officeDocument/2006/relationships/slideLayout" Target="../slideLayouts/slideLayout615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3.xml"/><Relationship Id="rId3" Type="http://schemas.openxmlformats.org/officeDocument/2006/relationships/slideLayout" Target="../slideLayouts/slideLayout618.xml"/><Relationship Id="rId7" Type="http://schemas.openxmlformats.org/officeDocument/2006/relationships/slideLayout" Target="../slideLayouts/slideLayout622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617.xml"/><Relationship Id="rId1" Type="http://schemas.openxmlformats.org/officeDocument/2006/relationships/slideLayout" Target="../slideLayouts/slideLayout616.xml"/><Relationship Id="rId6" Type="http://schemas.openxmlformats.org/officeDocument/2006/relationships/slideLayout" Target="../slideLayouts/slideLayout621.xml"/><Relationship Id="rId11" Type="http://schemas.openxmlformats.org/officeDocument/2006/relationships/slideLayout" Target="../slideLayouts/slideLayout626.xml"/><Relationship Id="rId5" Type="http://schemas.openxmlformats.org/officeDocument/2006/relationships/slideLayout" Target="../slideLayouts/slideLayout620.xml"/><Relationship Id="rId10" Type="http://schemas.openxmlformats.org/officeDocument/2006/relationships/slideLayout" Target="../slideLayouts/slideLayout625.xml"/><Relationship Id="rId4" Type="http://schemas.openxmlformats.org/officeDocument/2006/relationships/slideLayout" Target="../slideLayouts/slideLayout619.xml"/><Relationship Id="rId9" Type="http://schemas.openxmlformats.org/officeDocument/2006/relationships/slideLayout" Target="../slideLayouts/slideLayout624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4.xml"/><Relationship Id="rId3" Type="http://schemas.openxmlformats.org/officeDocument/2006/relationships/slideLayout" Target="../slideLayouts/slideLayout629.xml"/><Relationship Id="rId7" Type="http://schemas.openxmlformats.org/officeDocument/2006/relationships/slideLayout" Target="../slideLayouts/slideLayout633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628.xml"/><Relationship Id="rId1" Type="http://schemas.openxmlformats.org/officeDocument/2006/relationships/slideLayout" Target="../slideLayouts/slideLayout627.xml"/><Relationship Id="rId6" Type="http://schemas.openxmlformats.org/officeDocument/2006/relationships/slideLayout" Target="../slideLayouts/slideLayout632.xml"/><Relationship Id="rId11" Type="http://schemas.openxmlformats.org/officeDocument/2006/relationships/slideLayout" Target="../slideLayouts/slideLayout637.xml"/><Relationship Id="rId5" Type="http://schemas.openxmlformats.org/officeDocument/2006/relationships/slideLayout" Target="../slideLayouts/slideLayout631.xml"/><Relationship Id="rId10" Type="http://schemas.openxmlformats.org/officeDocument/2006/relationships/slideLayout" Target="../slideLayouts/slideLayout636.xml"/><Relationship Id="rId4" Type="http://schemas.openxmlformats.org/officeDocument/2006/relationships/slideLayout" Target="../slideLayouts/slideLayout630.xml"/><Relationship Id="rId9" Type="http://schemas.openxmlformats.org/officeDocument/2006/relationships/slideLayout" Target="../slideLayouts/slideLayout635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5.xml"/><Relationship Id="rId13" Type="http://schemas.openxmlformats.org/officeDocument/2006/relationships/slideLayout" Target="../slideLayouts/slideLayout650.xml"/><Relationship Id="rId3" Type="http://schemas.openxmlformats.org/officeDocument/2006/relationships/slideLayout" Target="../slideLayouts/slideLayout640.xml"/><Relationship Id="rId7" Type="http://schemas.openxmlformats.org/officeDocument/2006/relationships/slideLayout" Target="../slideLayouts/slideLayout644.xml"/><Relationship Id="rId12" Type="http://schemas.openxmlformats.org/officeDocument/2006/relationships/slideLayout" Target="../slideLayouts/slideLayout649.xml"/><Relationship Id="rId2" Type="http://schemas.openxmlformats.org/officeDocument/2006/relationships/slideLayout" Target="../slideLayouts/slideLayout639.xml"/><Relationship Id="rId1" Type="http://schemas.openxmlformats.org/officeDocument/2006/relationships/slideLayout" Target="../slideLayouts/slideLayout638.xml"/><Relationship Id="rId6" Type="http://schemas.openxmlformats.org/officeDocument/2006/relationships/slideLayout" Target="../slideLayouts/slideLayout643.xml"/><Relationship Id="rId11" Type="http://schemas.openxmlformats.org/officeDocument/2006/relationships/slideLayout" Target="../slideLayouts/slideLayout648.xml"/><Relationship Id="rId5" Type="http://schemas.openxmlformats.org/officeDocument/2006/relationships/slideLayout" Target="../slideLayouts/slideLayout642.xml"/><Relationship Id="rId15" Type="http://schemas.openxmlformats.org/officeDocument/2006/relationships/theme" Target="../theme/theme44.xml"/><Relationship Id="rId10" Type="http://schemas.openxmlformats.org/officeDocument/2006/relationships/slideLayout" Target="../slideLayouts/slideLayout647.xml"/><Relationship Id="rId4" Type="http://schemas.openxmlformats.org/officeDocument/2006/relationships/slideLayout" Target="../slideLayouts/slideLayout641.xml"/><Relationship Id="rId9" Type="http://schemas.openxmlformats.org/officeDocument/2006/relationships/slideLayout" Target="../slideLayouts/slideLayout646.xml"/><Relationship Id="rId14" Type="http://schemas.openxmlformats.org/officeDocument/2006/relationships/slideLayout" Target="../slideLayouts/slideLayout651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9.xml"/><Relationship Id="rId13" Type="http://schemas.openxmlformats.org/officeDocument/2006/relationships/slideLayout" Target="../slideLayouts/slideLayout664.xml"/><Relationship Id="rId18" Type="http://schemas.openxmlformats.org/officeDocument/2006/relationships/slideLayout" Target="../slideLayouts/slideLayout669.xml"/><Relationship Id="rId3" Type="http://schemas.openxmlformats.org/officeDocument/2006/relationships/slideLayout" Target="../slideLayouts/slideLayout654.xml"/><Relationship Id="rId21" Type="http://schemas.openxmlformats.org/officeDocument/2006/relationships/slideLayout" Target="../slideLayouts/slideLayout672.xml"/><Relationship Id="rId7" Type="http://schemas.openxmlformats.org/officeDocument/2006/relationships/slideLayout" Target="../slideLayouts/slideLayout658.xml"/><Relationship Id="rId12" Type="http://schemas.openxmlformats.org/officeDocument/2006/relationships/slideLayout" Target="../slideLayouts/slideLayout663.xml"/><Relationship Id="rId17" Type="http://schemas.openxmlformats.org/officeDocument/2006/relationships/slideLayout" Target="../slideLayouts/slideLayout668.xml"/><Relationship Id="rId2" Type="http://schemas.openxmlformats.org/officeDocument/2006/relationships/slideLayout" Target="../slideLayouts/slideLayout653.xml"/><Relationship Id="rId16" Type="http://schemas.openxmlformats.org/officeDocument/2006/relationships/slideLayout" Target="../slideLayouts/slideLayout667.xml"/><Relationship Id="rId20" Type="http://schemas.openxmlformats.org/officeDocument/2006/relationships/slideLayout" Target="../slideLayouts/slideLayout671.xml"/><Relationship Id="rId1" Type="http://schemas.openxmlformats.org/officeDocument/2006/relationships/slideLayout" Target="../slideLayouts/slideLayout652.xml"/><Relationship Id="rId6" Type="http://schemas.openxmlformats.org/officeDocument/2006/relationships/slideLayout" Target="../slideLayouts/slideLayout657.xml"/><Relationship Id="rId11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56.xml"/><Relationship Id="rId15" Type="http://schemas.openxmlformats.org/officeDocument/2006/relationships/slideLayout" Target="../slideLayouts/slideLayout666.xml"/><Relationship Id="rId23" Type="http://schemas.openxmlformats.org/officeDocument/2006/relationships/theme" Target="../theme/theme45.xml"/><Relationship Id="rId10" Type="http://schemas.openxmlformats.org/officeDocument/2006/relationships/slideLayout" Target="../slideLayouts/slideLayout661.xml"/><Relationship Id="rId19" Type="http://schemas.openxmlformats.org/officeDocument/2006/relationships/slideLayout" Target="../slideLayouts/slideLayout670.xml"/><Relationship Id="rId4" Type="http://schemas.openxmlformats.org/officeDocument/2006/relationships/slideLayout" Target="../slideLayouts/slideLayout655.xml"/><Relationship Id="rId9" Type="http://schemas.openxmlformats.org/officeDocument/2006/relationships/slideLayout" Target="../slideLayouts/slideLayout660.xml"/><Relationship Id="rId14" Type="http://schemas.openxmlformats.org/officeDocument/2006/relationships/slideLayout" Target="../slideLayouts/slideLayout665.xml"/><Relationship Id="rId22" Type="http://schemas.openxmlformats.org/officeDocument/2006/relationships/slideLayout" Target="../slideLayouts/slideLayout673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1.xml"/><Relationship Id="rId13" Type="http://schemas.openxmlformats.org/officeDocument/2006/relationships/slideLayout" Target="../slideLayouts/slideLayout686.xml"/><Relationship Id="rId18" Type="http://schemas.openxmlformats.org/officeDocument/2006/relationships/theme" Target="../theme/theme46.xml"/><Relationship Id="rId3" Type="http://schemas.openxmlformats.org/officeDocument/2006/relationships/slideLayout" Target="../slideLayouts/slideLayout676.xml"/><Relationship Id="rId7" Type="http://schemas.openxmlformats.org/officeDocument/2006/relationships/slideLayout" Target="../slideLayouts/slideLayout680.xml"/><Relationship Id="rId12" Type="http://schemas.openxmlformats.org/officeDocument/2006/relationships/slideLayout" Target="../slideLayouts/slideLayout685.xml"/><Relationship Id="rId17" Type="http://schemas.openxmlformats.org/officeDocument/2006/relationships/slideLayout" Target="../slideLayouts/slideLayout690.xml"/><Relationship Id="rId2" Type="http://schemas.openxmlformats.org/officeDocument/2006/relationships/slideLayout" Target="../slideLayouts/slideLayout675.xml"/><Relationship Id="rId16" Type="http://schemas.openxmlformats.org/officeDocument/2006/relationships/slideLayout" Target="../slideLayouts/slideLayout689.xml"/><Relationship Id="rId1" Type="http://schemas.openxmlformats.org/officeDocument/2006/relationships/slideLayout" Target="../slideLayouts/slideLayout674.xml"/><Relationship Id="rId6" Type="http://schemas.openxmlformats.org/officeDocument/2006/relationships/slideLayout" Target="../slideLayouts/slideLayout679.xml"/><Relationship Id="rId11" Type="http://schemas.openxmlformats.org/officeDocument/2006/relationships/slideLayout" Target="../slideLayouts/slideLayout684.xml"/><Relationship Id="rId5" Type="http://schemas.openxmlformats.org/officeDocument/2006/relationships/slideLayout" Target="../slideLayouts/slideLayout678.xml"/><Relationship Id="rId15" Type="http://schemas.openxmlformats.org/officeDocument/2006/relationships/slideLayout" Target="../slideLayouts/slideLayout688.xml"/><Relationship Id="rId10" Type="http://schemas.openxmlformats.org/officeDocument/2006/relationships/slideLayout" Target="../slideLayouts/slideLayout683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677.xml"/><Relationship Id="rId9" Type="http://schemas.openxmlformats.org/officeDocument/2006/relationships/slideLayout" Target="../slideLayouts/slideLayout682.xml"/><Relationship Id="rId14" Type="http://schemas.openxmlformats.org/officeDocument/2006/relationships/slideLayout" Target="../slideLayouts/slideLayout687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8.xml"/><Relationship Id="rId13" Type="http://schemas.openxmlformats.org/officeDocument/2006/relationships/slideLayout" Target="../slideLayouts/slideLayout703.xml"/><Relationship Id="rId18" Type="http://schemas.openxmlformats.org/officeDocument/2006/relationships/theme" Target="../theme/theme47.xml"/><Relationship Id="rId3" Type="http://schemas.openxmlformats.org/officeDocument/2006/relationships/slideLayout" Target="../slideLayouts/slideLayout693.xml"/><Relationship Id="rId7" Type="http://schemas.openxmlformats.org/officeDocument/2006/relationships/slideLayout" Target="../slideLayouts/slideLayout697.xml"/><Relationship Id="rId12" Type="http://schemas.openxmlformats.org/officeDocument/2006/relationships/slideLayout" Target="../slideLayouts/slideLayout702.xml"/><Relationship Id="rId17" Type="http://schemas.openxmlformats.org/officeDocument/2006/relationships/slideLayout" Target="../slideLayouts/slideLayout707.xml"/><Relationship Id="rId2" Type="http://schemas.openxmlformats.org/officeDocument/2006/relationships/slideLayout" Target="../slideLayouts/slideLayout692.xml"/><Relationship Id="rId16" Type="http://schemas.openxmlformats.org/officeDocument/2006/relationships/slideLayout" Target="../slideLayouts/slideLayout706.xml"/><Relationship Id="rId1" Type="http://schemas.openxmlformats.org/officeDocument/2006/relationships/slideLayout" Target="../slideLayouts/slideLayout691.xml"/><Relationship Id="rId6" Type="http://schemas.openxmlformats.org/officeDocument/2006/relationships/slideLayout" Target="../slideLayouts/slideLayout696.xml"/><Relationship Id="rId11" Type="http://schemas.openxmlformats.org/officeDocument/2006/relationships/slideLayout" Target="../slideLayouts/slideLayout701.xml"/><Relationship Id="rId5" Type="http://schemas.openxmlformats.org/officeDocument/2006/relationships/slideLayout" Target="../slideLayouts/slideLayout695.xml"/><Relationship Id="rId15" Type="http://schemas.openxmlformats.org/officeDocument/2006/relationships/slideLayout" Target="../slideLayouts/slideLayout705.xml"/><Relationship Id="rId10" Type="http://schemas.openxmlformats.org/officeDocument/2006/relationships/slideLayout" Target="../slideLayouts/slideLayout700.xml"/><Relationship Id="rId4" Type="http://schemas.openxmlformats.org/officeDocument/2006/relationships/slideLayout" Target="../slideLayouts/slideLayout694.xml"/><Relationship Id="rId9" Type="http://schemas.openxmlformats.org/officeDocument/2006/relationships/slideLayout" Target="../slideLayouts/slideLayout699.xml"/><Relationship Id="rId14" Type="http://schemas.openxmlformats.org/officeDocument/2006/relationships/slideLayout" Target="../slideLayouts/slideLayout704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5.xml"/><Relationship Id="rId13" Type="http://schemas.openxmlformats.org/officeDocument/2006/relationships/slideLayout" Target="../slideLayouts/slideLayout720.xml"/><Relationship Id="rId3" Type="http://schemas.openxmlformats.org/officeDocument/2006/relationships/slideLayout" Target="../slideLayouts/slideLayout710.xml"/><Relationship Id="rId7" Type="http://schemas.openxmlformats.org/officeDocument/2006/relationships/slideLayout" Target="../slideLayouts/slideLayout714.xml"/><Relationship Id="rId12" Type="http://schemas.openxmlformats.org/officeDocument/2006/relationships/slideLayout" Target="../slideLayouts/slideLayout719.xml"/><Relationship Id="rId2" Type="http://schemas.openxmlformats.org/officeDocument/2006/relationships/slideLayout" Target="../slideLayouts/slideLayout709.xml"/><Relationship Id="rId1" Type="http://schemas.openxmlformats.org/officeDocument/2006/relationships/slideLayout" Target="../slideLayouts/slideLayout708.xml"/><Relationship Id="rId6" Type="http://schemas.openxmlformats.org/officeDocument/2006/relationships/slideLayout" Target="../slideLayouts/slideLayout713.xml"/><Relationship Id="rId11" Type="http://schemas.openxmlformats.org/officeDocument/2006/relationships/slideLayout" Target="../slideLayouts/slideLayout718.xml"/><Relationship Id="rId5" Type="http://schemas.openxmlformats.org/officeDocument/2006/relationships/slideLayout" Target="../slideLayouts/slideLayout712.xml"/><Relationship Id="rId10" Type="http://schemas.openxmlformats.org/officeDocument/2006/relationships/slideLayout" Target="../slideLayouts/slideLayout717.xml"/><Relationship Id="rId4" Type="http://schemas.openxmlformats.org/officeDocument/2006/relationships/slideLayout" Target="../slideLayouts/slideLayout711.xml"/><Relationship Id="rId9" Type="http://schemas.openxmlformats.org/officeDocument/2006/relationships/slideLayout" Target="../slideLayouts/slideLayout716.xml"/><Relationship Id="rId14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8.xml"/><Relationship Id="rId13" Type="http://schemas.openxmlformats.org/officeDocument/2006/relationships/theme" Target="../theme/theme49.xml"/><Relationship Id="rId3" Type="http://schemas.openxmlformats.org/officeDocument/2006/relationships/slideLayout" Target="../slideLayouts/slideLayout723.xml"/><Relationship Id="rId7" Type="http://schemas.openxmlformats.org/officeDocument/2006/relationships/slideLayout" Target="../slideLayouts/slideLayout727.xml"/><Relationship Id="rId12" Type="http://schemas.openxmlformats.org/officeDocument/2006/relationships/slideLayout" Target="../slideLayouts/slideLayout732.xml"/><Relationship Id="rId2" Type="http://schemas.openxmlformats.org/officeDocument/2006/relationships/slideLayout" Target="../slideLayouts/slideLayout722.xml"/><Relationship Id="rId1" Type="http://schemas.openxmlformats.org/officeDocument/2006/relationships/slideLayout" Target="../slideLayouts/slideLayout721.xml"/><Relationship Id="rId6" Type="http://schemas.openxmlformats.org/officeDocument/2006/relationships/slideLayout" Target="../slideLayouts/slideLayout726.xml"/><Relationship Id="rId11" Type="http://schemas.openxmlformats.org/officeDocument/2006/relationships/slideLayout" Target="../slideLayouts/slideLayout731.xml"/><Relationship Id="rId5" Type="http://schemas.openxmlformats.org/officeDocument/2006/relationships/slideLayout" Target="../slideLayouts/slideLayout725.xml"/><Relationship Id="rId10" Type="http://schemas.openxmlformats.org/officeDocument/2006/relationships/slideLayout" Target="../slideLayouts/slideLayout730.xml"/><Relationship Id="rId4" Type="http://schemas.openxmlformats.org/officeDocument/2006/relationships/slideLayout" Target="../slideLayouts/slideLayout724.xml"/><Relationship Id="rId9" Type="http://schemas.openxmlformats.org/officeDocument/2006/relationships/slideLayout" Target="../slideLayouts/slideLayout72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0.xml"/><Relationship Id="rId13" Type="http://schemas.openxmlformats.org/officeDocument/2006/relationships/slideLayout" Target="../slideLayouts/slideLayout745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735.xml"/><Relationship Id="rId7" Type="http://schemas.openxmlformats.org/officeDocument/2006/relationships/slideLayout" Target="../slideLayouts/slideLayout739.xml"/><Relationship Id="rId12" Type="http://schemas.openxmlformats.org/officeDocument/2006/relationships/slideLayout" Target="../slideLayouts/slideLayout744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734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733.xml"/><Relationship Id="rId6" Type="http://schemas.openxmlformats.org/officeDocument/2006/relationships/slideLayout" Target="../slideLayouts/slideLayout738.xml"/><Relationship Id="rId11" Type="http://schemas.openxmlformats.org/officeDocument/2006/relationships/slideLayout" Target="../slideLayouts/slideLayout743.xml"/><Relationship Id="rId5" Type="http://schemas.openxmlformats.org/officeDocument/2006/relationships/slideLayout" Target="../slideLayouts/slideLayout737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742.xml"/><Relationship Id="rId19" Type="http://schemas.openxmlformats.org/officeDocument/2006/relationships/image" Target="../media/image13.emf"/><Relationship Id="rId4" Type="http://schemas.openxmlformats.org/officeDocument/2006/relationships/slideLayout" Target="../slideLayouts/slideLayout736.xml"/><Relationship Id="rId9" Type="http://schemas.openxmlformats.org/officeDocument/2006/relationships/slideLayout" Target="../slideLayouts/slideLayout741.xml"/><Relationship Id="rId14" Type="http://schemas.openxmlformats.org/officeDocument/2006/relationships/theme" Target="../theme/theme50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3.xml"/><Relationship Id="rId13" Type="http://schemas.openxmlformats.org/officeDocument/2006/relationships/slideLayout" Target="../slideLayouts/slideLayout758.xml"/><Relationship Id="rId18" Type="http://schemas.openxmlformats.org/officeDocument/2006/relationships/slideLayout" Target="../slideLayouts/slideLayout763.xml"/><Relationship Id="rId26" Type="http://schemas.openxmlformats.org/officeDocument/2006/relationships/slideLayout" Target="../slideLayouts/slideLayout771.xml"/><Relationship Id="rId3" Type="http://schemas.openxmlformats.org/officeDocument/2006/relationships/slideLayout" Target="../slideLayouts/slideLayout748.xml"/><Relationship Id="rId21" Type="http://schemas.openxmlformats.org/officeDocument/2006/relationships/slideLayout" Target="../slideLayouts/slideLayout766.xml"/><Relationship Id="rId34" Type="http://schemas.openxmlformats.org/officeDocument/2006/relationships/tags" Target="../tags/tag8.xml"/><Relationship Id="rId7" Type="http://schemas.openxmlformats.org/officeDocument/2006/relationships/slideLayout" Target="../slideLayouts/slideLayout752.xml"/><Relationship Id="rId12" Type="http://schemas.openxmlformats.org/officeDocument/2006/relationships/slideLayout" Target="../slideLayouts/slideLayout757.xml"/><Relationship Id="rId17" Type="http://schemas.openxmlformats.org/officeDocument/2006/relationships/slideLayout" Target="../slideLayouts/slideLayout762.xml"/><Relationship Id="rId25" Type="http://schemas.openxmlformats.org/officeDocument/2006/relationships/slideLayout" Target="../slideLayouts/slideLayout770.xml"/><Relationship Id="rId33" Type="http://schemas.openxmlformats.org/officeDocument/2006/relationships/vmlDrawing" Target="../drawings/vmlDrawing3.vml"/><Relationship Id="rId2" Type="http://schemas.openxmlformats.org/officeDocument/2006/relationships/slideLayout" Target="../slideLayouts/slideLayout747.xml"/><Relationship Id="rId16" Type="http://schemas.openxmlformats.org/officeDocument/2006/relationships/slideLayout" Target="../slideLayouts/slideLayout761.xml"/><Relationship Id="rId20" Type="http://schemas.openxmlformats.org/officeDocument/2006/relationships/slideLayout" Target="../slideLayouts/slideLayout765.xml"/><Relationship Id="rId29" Type="http://schemas.openxmlformats.org/officeDocument/2006/relationships/slideLayout" Target="../slideLayouts/slideLayout774.xml"/><Relationship Id="rId1" Type="http://schemas.openxmlformats.org/officeDocument/2006/relationships/slideLayout" Target="../slideLayouts/slideLayout746.xml"/><Relationship Id="rId6" Type="http://schemas.openxmlformats.org/officeDocument/2006/relationships/slideLayout" Target="../slideLayouts/slideLayout751.xml"/><Relationship Id="rId11" Type="http://schemas.openxmlformats.org/officeDocument/2006/relationships/slideLayout" Target="../slideLayouts/slideLayout756.xml"/><Relationship Id="rId24" Type="http://schemas.openxmlformats.org/officeDocument/2006/relationships/slideLayout" Target="../slideLayouts/slideLayout769.xml"/><Relationship Id="rId32" Type="http://schemas.openxmlformats.org/officeDocument/2006/relationships/theme" Target="../theme/theme51.xml"/><Relationship Id="rId37" Type="http://schemas.openxmlformats.org/officeDocument/2006/relationships/image" Target="../media/image13.emf"/><Relationship Id="rId5" Type="http://schemas.openxmlformats.org/officeDocument/2006/relationships/slideLayout" Target="../slideLayouts/slideLayout750.xml"/><Relationship Id="rId15" Type="http://schemas.openxmlformats.org/officeDocument/2006/relationships/slideLayout" Target="../slideLayouts/slideLayout760.xml"/><Relationship Id="rId23" Type="http://schemas.openxmlformats.org/officeDocument/2006/relationships/slideLayout" Target="../slideLayouts/slideLayout768.xml"/><Relationship Id="rId28" Type="http://schemas.openxmlformats.org/officeDocument/2006/relationships/slideLayout" Target="../slideLayouts/slideLayout773.xml"/><Relationship Id="rId36" Type="http://schemas.openxmlformats.org/officeDocument/2006/relationships/oleObject" Target="../embeddings/oleObject3.bin"/><Relationship Id="rId10" Type="http://schemas.openxmlformats.org/officeDocument/2006/relationships/slideLayout" Target="../slideLayouts/slideLayout755.xml"/><Relationship Id="rId19" Type="http://schemas.openxmlformats.org/officeDocument/2006/relationships/slideLayout" Target="../slideLayouts/slideLayout764.xml"/><Relationship Id="rId31" Type="http://schemas.openxmlformats.org/officeDocument/2006/relationships/slideLayout" Target="../slideLayouts/slideLayout776.xml"/><Relationship Id="rId4" Type="http://schemas.openxmlformats.org/officeDocument/2006/relationships/slideLayout" Target="../slideLayouts/slideLayout749.xml"/><Relationship Id="rId9" Type="http://schemas.openxmlformats.org/officeDocument/2006/relationships/slideLayout" Target="../slideLayouts/slideLayout754.xml"/><Relationship Id="rId14" Type="http://schemas.openxmlformats.org/officeDocument/2006/relationships/slideLayout" Target="../slideLayouts/slideLayout759.xml"/><Relationship Id="rId22" Type="http://schemas.openxmlformats.org/officeDocument/2006/relationships/slideLayout" Target="../slideLayouts/slideLayout767.xml"/><Relationship Id="rId27" Type="http://schemas.openxmlformats.org/officeDocument/2006/relationships/slideLayout" Target="../slideLayouts/slideLayout772.xml"/><Relationship Id="rId30" Type="http://schemas.openxmlformats.org/officeDocument/2006/relationships/slideLayout" Target="../slideLayouts/slideLayout775.xml"/><Relationship Id="rId35" Type="http://schemas.openxmlformats.org/officeDocument/2006/relationships/tags" Target="../tags/tag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94.xml"/><Relationship Id="rId16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02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9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5" Type="http://schemas.openxmlformats.org/officeDocument/2006/relationships/slideLayout" Target="../slideLayouts/slideLayout131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5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32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5" y="6248432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621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F4A357-2B98-4EFE-BCBA-CEC24098F0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108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814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9" r:id="rId1"/>
    <p:sldLayoutId id="2147484800" r:id="rId2"/>
    <p:sldLayoutId id="2147484801" r:id="rId3"/>
    <p:sldLayoutId id="2147484802" r:id="rId4"/>
    <p:sldLayoutId id="2147484803" r:id="rId5"/>
    <p:sldLayoutId id="2147484804" r:id="rId6"/>
    <p:sldLayoutId id="2147484805" r:id="rId7"/>
    <p:sldLayoutId id="2147484806" r:id="rId8"/>
    <p:sldLayoutId id="2147484807" r:id="rId9"/>
    <p:sldLayoutId id="2147484808" r:id="rId10"/>
    <p:sldLayoutId id="2147484809" r:id="rId11"/>
    <p:sldLayoutId id="2147484810" r:id="rId12"/>
    <p:sldLayoutId id="2147484811" r:id="rId13"/>
    <p:sldLayoutId id="2147484812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365129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2291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0" y="1825624"/>
            <a:ext cx="78867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8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Myriad Pro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E5A1D2-A447-401E-B087-3F9441D20B1F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71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7" r:id="rId1"/>
    <p:sldLayoutId id="2147484968" r:id="rId2"/>
    <p:sldLayoutId id="2147484969" r:id="rId3"/>
    <p:sldLayoutId id="2147484970" r:id="rId4"/>
    <p:sldLayoutId id="2147484971" r:id="rId5"/>
    <p:sldLayoutId id="2147484972" r:id="rId6"/>
    <p:sldLayoutId id="2147484973" r:id="rId7"/>
    <p:sldLayoutId id="2147484974" r:id="rId8"/>
    <p:sldLayoutId id="2147484975" r:id="rId9"/>
    <p:sldLayoutId id="2147484976" r:id="rId10"/>
    <p:sldLayoutId id="2147484977" r:id="rId11"/>
  </p:sldLayoutIdLst>
  <p:transition spd="slow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8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8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684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3" r:id="rId1"/>
    <p:sldLayoutId id="2147485094" r:id="rId2"/>
    <p:sldLayoutId id="2147485095" r:id="rId3"/>
    <p:sldLayoutId id="2147485096" r:id="rId4"/>
    <p:sldLayoutId id="2147485097" r:id="rId5"/>
    <p:sldLayoutId id="2147485098" r:id="rId6"/>
    <p:sldLayoutId id="2147485099" r:id="rId7"/>
    <p:sldLayoutId id="2147485100" r:id="rId8"/>
    <p:sldLayoutId id="2147485101" r:id="rId9"/>
    <p:sldLayoutId id="2147485102" r:id="rId10"/>
    <p:sldLayoutId id="2147485103" r:id="rId11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2291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0" y="1825624"/>
            <a:ext cx="78867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6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Myriad Pro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E5A1D2-A447-401E-B087-3F9441D20B1F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305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8" r:id="rId1"/>
    <p:sldLayoutId id="2147485139" r:id="rId2"/>
    <p:sldLayoutId id="2147485140" r:id="rId3"/>
    <p:sldLayoutId id="2147485141" r:id="rId4"/>
    <p:sldLayoutId id="2147485142" r:id="rId5"/>
    <p:sldLayoutId id="2147485143" r:id="rId6"/>
    <p:sldLayoutId id="2147485144" r:id="rId7"/>
    <p:sldLayoutId id="2147485145" r:id="rId8"/>
    <p:sldLayoutId id="2147485146" r:id="rId9"/>
    <p:sldLayoutId id="2147485147" r:id="rId10"/>
    <p:sldLayoutId id="2147485148" r:id="rId11"/>
    <p:sldLayoutId id="2147484888" r:id="rId12"/>
    <p:sldLayoutId id="2147484889" r:id="rId13"/>
    <p:sldLayoutId id="2147484890" r:id="rId14"/>
    <p:sldLayoutId id="2147484892" r:id="rId15"/>
  </p:sldLayoutIdLst>
  <p:transition spd="slow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00005E"/>
            </a:gs>
            <a:gs pos="100000">
              <a:srgbClr val="0000C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3048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Показания к назначению фенспирида (в соответствии с инструкцией)</a:t>
            </a:r>
          </a:p>
        </p:txBody>
      </p:sp>
      <p:sp>
        <p:nvSpPr>
          <p:cNvPr id="15363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16128"/>
            <a:ext cx="7772400" cy="433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smtClean="0"/>
          </a:p>
        </p:txBody>
      </p:sp>
      <p:sp>
        <p:nvSpPr>
          <p:cNvPr id="4109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4008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1400">
                <a:solidFill>
                  <a:srgbClr val="FFFFFF"/>
                </a:solidFill>
                <a:latin typeface="+mj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4110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00800"/>
            <a:ext cx="2895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400">
                <a:solidFill>
                  <a:srgbClr val="FFFFFF"/>
                </a:solidFill>
                <a:latin typeface="+mj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411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00800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50000"/>
              </a:spcBef>
              <a:defRPr sz="1400">
                <a:solidFill>
                  <a:srgbClr val="FFFFFF"/>
                </a:solidFill>
                <a:latin typeface="+mj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A0E817C6-5BAD-4FD3-A8DD-BE3135D9E4C8}" type="slidenum">
              <a:rPr lang="ru-RU"/>
              <a:pPr fontAlgn="base"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1935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4" r:id="rId1"/>
    <p:sldLayoutId id="2147485405" r:id="rId2"/>
    <p:sldLayoutId id="2147485406" r:id="rId3"/>
    <p:sldLayoutId id="2147485407" r:id="rId4"/>
    <p:sldLayoutId id="2147485408" r:id="rId5"/>
    <p:sldLayoutId id="2147485409" r:id="rId6"/>
    <p:sldLayoutId id="2147485410" r:id="rId7"/>
    <p:sldLayoutId id="2147485411" r:id="rId8"/>
    <p:sldLayoutId id="2147485412" r:id="rId9"/>
    <p:sldLayoutId id="2147485413" r:id="rId10"/>
    <p:sldLayoutId id="2147485414" r:id="rId11"/>
    <p:sldLayoutId id="2147485415" r:id="rId12"/>
    <p:sldLayoutId id="2147485416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3200">
          <a:solidFill>
            <a:srgbClr val="FFFF00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Monotype Sorts" pitchFamily="2" charset="2"/>
        <a:buChar char="l"/>
        <a:defRPr kumimoji="1"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kumimoji="1"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Char char="•"/>
        <a:defRPr kumimoji="1"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kumimoji="1"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75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8" r:id="rId1"/>
    <p:sldLayoutId id="2147485459" r:id="rId2"/>
    <p:sldLayoutId id="2147485460" r:id="rId3"/>
    <p:sldLayoutId id="2147485461" r:id="rId4"/>
    <p:sldLayoutId id="2147485462" r:id="rId5"/>
    <p:sldLayoutId id="2147485463" r:id="rId6"/>
    <p:sldLayoutId id="2147485464" r:id="rId7"/>
    <p:sldLayoutId id="2147485465" r:id="rId8"/>
    <p:sldLayoutId id="2147485466" r:id="rId9"/>
    <p:sldLayoutId id="2147485467" r:id="rId10"/>
    <p:sldLayoutId id="2147485468" r:id="rId11"/>
    <p:sldLayoutId id="2147485341" r:id="rId12"/>
    <p:sldLayoutId id="2147485342" r:id="rId13"/>
    <p:sldLayoutId id="2147485343" r:id="rId14"/>
    <p:sldLayoutId id="2147485345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6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64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560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0" r:id="rId1"/>
    <p:sldLayoutId id="2147485471" r:id="rId2"/>
    <p:sldLayoutId id="2147485472" r:id="rId3"/>
    <p:sldLayoutId id="2147485473" r:id="rId4"/>
    <p:sldLayoutId id="2147485474" r:id="rId5"/>
    <p:sldLayoutId id="2147485475" r:id="rId6"/>
    <p:sldLayoutId id="2147485476" r:id="rId7"/>
    <p:sldLayoutId id="2147485477" r:id="rId8"/>
    <p:sldLayoutId id="2147485478" r:id="rId9"/>
    <p:sldLayoutId id="2147485479" r:id="rId10"/>
    <p:sldLayoutId id="2147485480" r:id="rId11"/>
    <p:sldLayoutId id="2147485359" r:id="rId12"/>
    <p:sldLayoutId id="2147485360" r:id="rId13"/>
    <p:sldLayoutId id="2147485361" r:id="rId14"/>
    <p:sldLayoutId id="2147485363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4"/>
            <a:ext cx="78867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FA74A56-936A-4251-9BAC-B8ADE824576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32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2" r:id="rId1"/>
    <p:sldLayoutId id="2147485483" r:id="rId2"/>
    <p:sldLayoutId id="2147485484" r:id="rId3"/>
    <p:sldLayoutId id="2147485485" r:id="rId4"/>
    <p:sldLayoutId id="2147485486" r:id="rId5"/>
    <p:sldLayoutId id="2147485487" r:id="rId6"/>
    <p:sldLayoutId id="2147485488" r:id="rId7"/>
    <p:sldLayoutId id="2147485489" r:id="rId8"/>
    <p:sldLayoutId id="2147485490" r:id="rId9"/>
    <p:sldLayoutId id="2147485491" r:id="rId10"/>
    <p:sldLayoutId id="2147485492" r:id="rId11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982E952-5AD9-214B-9621-C4B76FCC59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3/1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40832FEE-0515-8647-B98F-A79AAB627D4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99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84" r:id="rId1"/>
    <p:sldLayoutId id="2147485585" r:id="rId2"/>
    <p:sldLayoutId id="2147485586" r:id="rId3"/>
    <p:sldLayoutId id="2147485587" r:id="rId4"/>
    <p:sldLayoutId id="2147485588" r:id="rId5"/>
    <p:sldLayoutId id="2147485589" r:id="rId6"/>
    <p:sldLayoutId id="2147485590" r:id="rId7"/>
    <p:sldLayoutId id="2147485591" r:id="rId8"/>
    <p:sldLayoutId id="2147485592" r:id="rId9"/>
    <p:sldLayoutId id="2147485593" r:id="rId10"/>
    <p:sldLayoutId id="2147485594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1A0F735-3F32-452B-8564-9157FACF0A4B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8CEF3B-335F-48C6-A062-B84AD64E47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672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8" r:id="rId1"/>
    <p:sldLayoutId id="2147485669" r:id="rId2"/>
    <p:sldLayoutId id="2147485670" r:id="rId3"/>
    <p:sldLayoutId id="2147485671" r:id="rId4"/>
    <p:sldLayoutId id="2147485672" r:id="rId5"/>
    <p:sldLayoutId id="2147485673" r:id="rId6"/>
    <p:sldLayoutId id="2147485674" r:id="rId7"/>
    <p:sldLayoutId id="2147485675" r:id="rId8"/>
    <p:sldLayoutId id="2147485676" r:id="rId9"/>
    <p:sldLayoutId id="2147485677" r:id="rId10"/>
    <p:sldLayoutId id="2147485678" r:id="rId11"/>
    <p:sldLayoutId id="2147485679" r:id="rId12"/>
    <p:sldLayoutId id="2147485680" r:id="rId13"/>
    <p:sldLayoutId id="2147485681" r:id="rId14"/>
    <p:sldLayoutId id="2147485682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1A0F735-3F32-452B-8564-9157FACF0A4B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8CEF3B-335F-48C6-A062-B84AD64E47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489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84" r:id="rId1"/>
    <p:sldLayoutId id="2147485685" r:id="rId2"/>
    <p:sldLayoutId id="2147485686" r:id="rId3"/>
    <p:sldLayoutId id="2147485687" r:id="rId4"/>
    <p:sldLayoutId id="2147485688" r:id="rId5"/>
    <p:sldLayoutId id="2147485689" r:id="rId6"/>
    <p:sldLayoutId id="2147485690" r:id="rId7"/>
    <p:sldLayoutId id="2147485691" r:id="rId8"/>
    <p:sldLayoutId id="2147485692" r:id="rId9"/>
    <p:sldLayoutId id="2147485693" r:id="rId10"/>
    <p:sldLayoutId id="2147485694" r:id="rId11"/>
    <p:sldLayoutId id="2147485695" r:id="rId12"/>
    <p:sldLayoutId id="2147485696" r:id="rId13"/>
    <p:sldLayoutId id="2147485697" r:id="rId14"/>
    <p:sldLayoutId id="2147485698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1A0F735-3F32-452B-8564-9157FACF0A4B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8CEF3B-335F-48C6-A062-B84AD64E47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940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16" r:id="rId1"/>
    <p:sldLayoutId id="2147485717" r:id="rId2"/>
    <p:sldLayoutId id="2147485718" r:id="rId3"/>
    <p:sldLayoutId id="2147485719" r:id="rId4"/>
    <p:sldLayoutId id="2147485720" r:id="rId5"/>
    <p:sldLayoutId id="2147485721" r:id="rId6"/>
    <p:sldLayoutId id="2147485722" r:id="rId7"/>
    <p:sldLayoutId id="2147485723" r:id="rId8"/>
    <p:sldLayoutId id="2147485724" r:id="rId9"/>
    <p:sldLayoutId id="2147485725" r:id="rId10"/>
    <p:sldLayoutId id="2147485726" r:id="rId11"/>
    <p:sldLayoutId id="2147485727" r:id="rId12"/>
    <p:sldLayoutId id="2147485728" r:id="rId13"/>
    <p:sldLayoutId id="2147485729" r:id="rId14"/>
    <p:sldLayoutId id="2147485730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1A0F735-3F32-452B-8564-9157FACF0A4B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08CEF3B-335F-48C6-A062-B84AD64E47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781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2" r:id="rId1"/>
    <p:sldLayoutId id="2147485733" r:id="rId2"/>
    <p:sldLayoutId id="2147485734" r:id="rId3"/>
    <p:sldLayoutId id="2147485735" r:id="rId4"/>
    <p:sldLayoutId id="2147485736" r:id="rId5"/>
    <p:sldLayoutId id="2147485737" r:id="rId6"/>
    <p:sldLayoutId id="2147485738" r:id="rId7"/>
    <p:sldLayoutId id="2147485739" r:id="rId8"/>
    <p:sldLayoutId id="2147485740" r:id="rId9"/>
    <p:sldLayoutId id="2147485741" r:id="rId10"/>
    <p:sldLayoutId id="2147485742" r:id="rId11"/>
    <p:sldLayoutId id="2147485743" r:id="rId12"/>
    <p:sldLayoutId id="2147485744" r:id="rId13"/>
    <p:sldLayoutId id="2147485745" r:id="rId14"/>
    <p:sldLayoutId id="2147485746" r:id="rId1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94"/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94"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94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94"/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94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5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96" r:id="rId1"/>
    <p:sldLayoutId id="2147485797" r:id="rId2"/>
    <p:sldLayoutId id="2147485798" r:id="rId3"/>
    <p:sldLayoutId id="2147485799" r:id="rId4"/>
    <p:sldLayoutId id="2147485800" r:id="rId5"/>
    <p:sldLayoutId id="2147485801" r:id="rId6"/>
    <p:sldLayoutId id="2147485802" r:id="rId7"/>
    <p:sldLayoutId id="2147485803" r:id="rId8"/>
    <p:sldLayoutId id="2147485804" r:id="rId9"/>
    <p:sldLayoutId id="2147485805" r:id="rId10"/>
    <p:sldLayoutId id="2147485806" r:id="rId11"/>
  </p:sldLayoutIdLst>
  <p:txStyles>
    <p:titleStyle>
      <a:lvl1pPr algn="ctr" defTabSz="91439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39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394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4" indent="-228600" algn="l" defTabSz="914394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89" indent="-228600" algn="l" defTabSz="914394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88" indent="-228600" algn="l" defTabSz="914394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6" indent="-228600" algn="l" defTabSz="9143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2" indent="-228600" algn="l" defTabSz="9143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600" algn="l" defTabSz="9143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6" indent="-228600" algn="l" defTabSz="9143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3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8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3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389972-CAD8-45B0-8B44-FEFF9123C368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098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64" r:id="rId1"/>
    <p:sldLayoutId id="2147485865" r:id="rId2"/>
    <p:sldLayoutId id="2147485866" r:id="rId3"/>
    <p:sldLayoutId id="2147485867" r:id="rId4"/>
    <p:sldLayoutId id="2147485868" r:id="rId5"/>
    <p:sldLayoutId id="2147485869" r:id="rId6"/>
    <p:sldLayoutId id="2147485870" r:id="rId7"/>
    <p:sldLayoutId id="2147485871" r:id="rId8"/>
    <p:sldLayoutId id="2147485872" r:id="rId9"/>
    <p:sldLayoutId id="2147485873" r:id="rId10"/>
    <p:sldLayoutId id="2147485874" r:id="rId11"/>
    <p:sldLayoutId id="2147485875" r:id="rId12"/>
    <p:sldLayoutId id="2147485876" r:id="rId13"/>
    <p:sldLayoutId id="2147485877" r:id="rId14"/>
    <p:sldLayoutId id="2147485878" r:id="rId15"/>
    <p:sldLayoutId id="2147485879" r:id="rId16"/>
    <p:sldLayoutId id="2147485880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389972-CAD8-45B0-8B44-FEFF9123C368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042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82" r:id="rId1"/>
    <p:sldLayoutId id="2147485883" r:id="rId2"/>
    <p:sldLayoutId id="2147485884" r:id="rId3"/>
    <p:sldLayoutId id="2147485885" r:id="rId4"/>
    <p:sldLayoutId id="2147485886" r:id="rId5"/>
    <p:sldLayoutId id="2147485887" r:id="rId6"/>
    <p:sldLayoutId id="2147485888" r:id="rId7"/>
    <p:sldLayoutId id="2147485889" r:id="rId8"/>
    <p:sldLayoutId id="2147485890" r:id="rId9"/>
    <p:sldLayoutId id="2147485891" r:id="rId10"/>
    <p:sldLayoutId id="2147485892" r:id="rId11"/>
    <p:sldLayoutId id="2147485893" r:id="rId12"/>
    <p:sldLayoutId id="2147485894" r:id="rId13"/>
    <p:sldLayoutId id="2147485895" r:id="rId14"/>
    <p:sldLayoutId id="2147485896" r:id="rId15"/>
    <p:sldLayoutId id="2147485897" r:id="rId16"/>
    <p:sldLayoutId id="2147485898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389972-CAD8-45B0-8B44-FEFF9123C368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620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0" r:id="rId1"/>
    <p:sldLayoutId id="2147485901" r:id="rId2"/>
    <p:sldLayoutId id="2147485902" r:id="rId3"/>
    <p:sldLayoutId id="2147485903" r:id="rId4"/>
    <p:sldLayoutId id="2147485904" r:id="rId5"/>
    <p:sldLayoutId id="2147485905" r:id="rId6"/>
    <p:sldLayoutId id="2147485906" r:id="rId7"/>
    <p:sldLayoutId id="2147485907" r:id="rId8"/>
    <p:sldLayoutId id="2147485908" r:id="rId9"/>
    <p:sldLayoutId id="2147485909" r:id="rId10"/>
    <p:sldLayoutId id="2147485910" r:id="rId11"/>
    <p:sldLayoutId id="2147485911" r:id="rId12"/>
    <p:sldLayoutId id="2147485912" r:id="rId13"/>
    <p:sldLayoutId id="2147485913" r:id="rId14"/>
    <p:sldLayoutId id="2147485914" r:id="rId15"/>
    <p:sldLayoutId id="2147485915" r:id="rId16"/>
    <p:sldLayoutId id="2147485916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Образец заголовка</a:t>
            </a:r>
            <a:endParaRPr lang="ru-RU" smtClean="0"/>
          </a:p>
        </p:txBody>
      </p:sp>
      <p:sp>
        <p:nvSpPr>
          <p:cNvPr id="921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71EBF63-D8C4-4C2D-83A2-E86BD3392677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741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70" r:id="rId1"/>
    <p:sldLayoutId id="2147485971" r:id="rId2"/>
    <p:sldLayoutId id="2147485972" r:id="rId3"/>
    <p:sldLayoutId id="2147485973" r:id="rId4"/>
    <p:sldLayoutId id="2147485974" r:id="rId5"/>
    <p:sldLayoutId id="2147485975" r:id="rId6"/>
    <p:sldLayoutId id="2147485976" r:id="rId7"/>
    <p:sldLayoutId id="2147485977" r:id="rId8"/>
    <p:sldLayoutId id="2147485978" r:id="rId9"/>
    <p:sldLayoutId id="2147485979" r:id="rId10"/>
    <p:sldLayoutId id="2147485980" r:id="rId11"/>
    <p:sldLayoutId id="2147485981" r:id="rId12"/>
    <p:sldLayoutId id="2147485982" r:id="rId13"/>
    <p:sldLayoutId id="2147485983" r:id="rId14"/>
    <p:sldLayoutId id="2147485984" r:id="rId15"/>
    <p:sldLayoutId id="2147485985" r:id="rId16"/>
    <p:sldLayoutId id="2147485986" r:id="rId17"/>
    <p:sldLayoutId id="2147485987" r:id="rId18"/>
    <p:sldLayoutId id="2147485988" r:id="rId19"/>
    <p:sldLayoutId id="2147485989" r:id="rId20"/>
    <p:sldLayoutId id="2147485990" r:id="rId21"/>
    <p:sldLayoutId id="2147485991" r:id="rId2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2237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149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93" r:id="rId1"/>
    <p:sldLayoutId id="2147485994" r:id="rId2"/>
    <p:sldLayoutId id="2147485995" r:id="rId3"/>
    <p:sldLayoutId id="2147485996" r:id="rId4"/>
    <p:sldLayoutId id="2147485997" r:id="rId5"/>
    <p:sldLayoutId id="2147485998" r:id="rId6"/>
    <p:sldLayoutId id="2147485999" r:id="rId7"/>
    <p:sldLayoutId id="2147486000" r:id="rId8"/>
    <p:sldLayoutId id="2147486001" r:id="rId9"/>
    <p:sldLayoutId id="2147486002" r:id="rId10"/>
    <p:sldLayoutId id="2147486003" r:id="rId11"/>
    <p:sldLayoutId id="2147486004" r:id="rId12"/>
    <p:sldLayoutId id="2147486005" r:id="rId13"/>
    <p:sldLayoutId id="2147486006" r:id="rId14"/>
    <p:sldLayoutId id="2147486007" r:id="rId15"/>
    <p:sldLayoutId id="2147486008" r:id="rId16"/>
    <p:sldLayoutId id="2147486009" r:id="rId17"/>
    <p:sldLayoutId id="2147486010" r:id="rId18"/>
    <p:sldLayoutId id="2147486011" r:id="rId19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9pPr>
    </p:titleStyle>
    <p:bodyStyle>
      <a:lvl1pPr marL="233363" indent="-233363" algn="l" rtl="0" eaLnBrk="0" fontAlgn="base" hangingPunct="0">
        <a:spcBef>
          <a:spcPct val="20000"/>
        </a:spcBef>
        <a:spcAft>
          <a:spcPct val="0"/>
        </a:spcAft>
        <a:buClr>
          <a:srgbClr val="FAFD00"/>
        </a:buClr>
        <a:buSzPct val="116000"/>
        <a:buChar char="•"/>
        <a:tabLst>
          <a:tab pos="568325" algn="l"/>
        </a:tabLst>
        <a:defRPr sz="2400">
          <a:solidFill>
            <a:srgbClr val="FFFFFF"/>
          </a:solidFill>
          <a:latin typeface="+mn-lt"/>
          <a:ea typeface="+mn-ea"/>
          <a:cs typeface="+mn-cs"/>
        </a:defRPr>
      </a:lvl1pPr>
      <a:lvl2pPr marL="627063" indent="-279400" algn="l" rtl="0" eaLnBrk="0" fontAlgn="base" hangingPunct="0">
        <a:spcBef>
          <a:spcPct val="20000"/>
        </a:spcBef>
        <a:spcAft>
          <a:spcPct val="0"/>
        </a:spcAft>
        <a:buSzPct val="100000"/>
        <a:buChar char="–"/>
        <a:tabLst>
          <a:tab pos="568325" algn="l"/>
        </a:tabLst>
        <a:defRPr sz="2200">
          <a:solidFill>
            <a:srgbClr val="FFFFFF"/>
          </a:solidFill>
          <a:latin typeface="+mn-lt"/>
        </a:defRPr>
      </a:lvl2pPr>
      <a:lvl3pPr marL="1027113" indent="-285750" algn="l" rtl="0" eaLnBrk="0" fontAlgn="base" hangingPunct="0">
        <a:spcBef>
          <a:spcPct val="20000"/>
        </a:spcBef>
        <a:spcAft>
          <a:spcPct val="0"/>
        </a:spcAft>
        <a:buSzPct val="100000"/>
        <a:buFont typeface="Wingdings" pitchFamily="2" charset="2"/>
        <a:buChar char="ü"/>
        <a:tabLst>
          <a:tab pos="568325" algn="l"/>
        </a:tabLst>
        <a:defRPr sz="2000">
          <a:solidFill>
            <a:srgbClr val="FF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–"/>
        <a:tabLst>
          <a:tab pos="568325" algn="l"/>
        </a:tabLst>
        <a:defRPr sz="2000">
          <a:solidFill>
            <a:srgbClr val="FF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4C6F99-49AB-4380-941C-A22627B0624B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11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13" r:id="rId1"/>
    <p:sldLayoutId id="2147486014" r:id="rId2"/>
    <p:sldLayoutId id="2147486015" r:id="rId3"/>
    <p:sldLayoutId id="2147486016" r:id="rId4"/>
    <p:sldLayoutId id="2147486017" r:id="rId5"/>
    <p:sldLayoutId id="2147486018" r:id="rId6"/>
    <p:sldLayoutId id="2147486019" r:id="rId7"/>
    <p:sldLayoutId id="2147486020" r:id="rId8"/>
    <p:sldLayoutId id="2147486021" r:id="rId9"/>
    <p:sldLayoutId id="2147486022" r:id="rId10"/>
    <p:sldLayoutId id="2147486023" r:id="rId11"/>
    <p:sldLayoutId id="2147486024" r:id="rId12"/>
    <p:sldLayoutId id="2147486025" r:id="rId13"/>
    <p:sldLayoutId id="2147486026" r:id="rId14"/>
    <p:sldLayoutId id="2147486027" r:id="rId15"/>
    <p:sldLayoutId id="2147486028" r:id="rId16"/>
    <p:sldLayoutId id="2147486029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5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32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5" y="6248432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621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2F4A357-2B98-4EFE-BCBA-CEC24098F0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91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4C6F99-49AB-4380-941C-A22627B0624B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133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1" r:id="rId1"/>
    <p:sldLayoutId id="2147486032" r:id="rId2"/>
    <p:sldLayoutId id="2147486033" r:id="rId3"/>
    <p:sldLayoutId id="2147486034" r:id="rId4"/>
    <p:sldLayoutId id="2147486035" r:id="rId5"/>
    <p:sldLayoutId id="2147486036" r:id="rId6"/>
    <p:sldLayoutId id="2147486037" r:id="rId7"/>
    <p:sldLayoutId id="2147486038" r:id="rId8"/>
    <p:sldLayoutId id="2147486039" r:id="rId9"/>
    <p:sldLayoutId id="2147486040" r:id="rId10"/>
    <p:sldLayoutId id="2147486041" r:id="rId11"/>
    <p:sldLayoutId id="2147486042" r:id="rId12"/>
    <p:sldLayoutId id="2147486043" r:id="rId13"/>
    <p:sldLayoutId id="2147486044" r:id="rId14"/>
    <p:sldLayoutId id="2147486045" r:id="rId15"/>
    <p:sldLayoutId id="2147486046" r:id="rId16"/>
    <p:sldLayoutId id="2147486047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4C6F99-49AB-4380-941C-A22627B0624B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676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5" r:id="rId1"/>
    <p:sldLayoutId id="2147486086" r:id="rId2"/>
    <p:sldLayoutId id="2147486087" r:id="rId3"/>
    <p:sldLayoutId id="2147486088" r:id="rId4"/>
    <p:sldLayoutId id="2147486089" r:id="rId5"/>
    <p:sldLayoutId id="2147486090" r:id="rId6"/>
    <p:sldLayoutId id="2147486091" r:id="rId7"/>
    <p:sldLayoutId id="2147486092" r:id="rId8"/>
    <p:sldLayoutId id="2147486093" r:id="rId9"/>
    <p:sldLayoutId id="2147486094" r:id="rId10"/>
    <p:sldLayoutId id="2147486095" r:id="rId11"/>
    <p:sldLayoutId id="2147486096" r:id="rId12"/>
    <p:sldLayoutId id="2147486097" r:id="rId13"/>
    <p:sldLayoutId id="2147486098" r:id="rId14"/>
    <p:sldLayoutId id="2147486099" r:id="rId15"/>
    <p:sldLayoutId id="2147486100" r:id="rId16"/>
    <p:sldLayoutId id="2147486101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54C6F99-49AB-4380-941C-A22627B0624B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279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3" r:id="rId1"/>
    <p:sldLayoutId id="2147486104" r:id="rId2"/>
    <p:sldLayoutId id="2147486105" r:id="rId3"/>
    <p:sldLayoutId id="2147486106" r:id="rId4"/>
    <p:sldLayoutId id="2147486107" r:id="rId5"/>
    <p:sldLayoutId id="2147486108" r:id="rId6"/>
    <p:sldLayoutId id="2147486109" r:id="rId7"/>
    <p:sldLayoutId id="2147486110" r:id="rId8"/>
    <p:sldLayoutId id="2147486111" r:id="rId9"/>
    <p:sldLayoutId id="2147486112" r:id="rId10"/>
    <p:sldLayoutId id="2147486113" r:id="rId11"/>
    <p:sldLayoutId id="2147486114" r:id="rId12"/>
    <p:sldLayoutId id="2147486115" r:id="rId13"/>
    <p:sldLayoutId id="2147486116" r:id="rId14"/>
    <p:sldLayoutId id="2147486117" r:id="rId15"/>
    <p:sldLayoutId id="2147486118" r:id="rId16"/>
    <p:sldLayoutId id="2147486119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2291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0" y="1825624"/>
            <a:ext cx="7886700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6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6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Myriad Pro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2E5A1D2-A447-401E-B087-3F9441D20B1F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1535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1" r:id="rId1"/>
    <p:sldLayoutId id="2147486122" r:id="rId2"/>
    <p:sldLayoutId id="2147486123" r:id="rId3"/>
    <p:sldLayoutId id="2147486124" r:id="rId4"/>
    <p:sldLayoutId id="2147486125" r:id="rId5"/>
    <p:sldLayoutId id="2147486126" r:id="rId6"/>
    <p:sldLayoutId id="2147486127" r:id="rId7"/>
    <p:sldLayoutId id="2147486128" r:id="rId8"/>
    <p:sldLayoutId id="2147486129" r:id="rId9"/>
    <p:sldLayoutId id="2147486130" r:id="rId10"/>
    <p:sldLayoutId id="2147486131" r:id="rId11"/>
    <p:sldLayoutId id="2147486132" r:id="rId12"/>
    <p:sldLayoutId id="2147486133" r:id="rId13"/>
    <p:sldLayoutId id="2147486134" r:id="rId14"/>
    <p:sldLayoutId id="2147486135" r:id="rId15"/>
  </p:sldLayoutIdLst>
  <p:transition spd="slow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 smtClean="0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2F4A357-2B98-4EFE-BCBA-CEC24098F0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658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51" r:id="rId1"/>
    <p:sldLayoutId id="2147486152" r:id="rId2"/>
    <p:sldLayoutId id="2147486153" r:id="rId3"/>
    <p:sldLayoutId id="2147486154" r:id="rId4"/>
    <p:sldLayoutId id="2147486155" r:id="rId5"/>
    <p:sldLayoutId id="2147486156" r:id="rId6"/>
    <p:sldLayoutId id="2147486157" r:id="rId7"/>
    <p:sldLayoutId id="2147486158" r:id="rId8"/>
    <p:sldLayoutId id="2147486159" r:id="rId9"/>
    <p:sldLayoutId id="2147486160" r:id="rId10"/>
    <p:sldLayoutId id="2147486161" r:id="rId11"/>
    <p:sldLayoutId id="2147486162" r:id="rId12"/>
    <p:sldLayoutId id="2147486163" r:id="rId13"/>
    <p:sldLayoutId id="2147486164" r:id="rId14"/>
    <p:sldLayoutId id="2147486165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44D7566-0927-4286-BA50-4DD8770F98C7}" type="slidenum">
              <a:rPr lang="ru-RU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226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7" r:id="rId1"/>
    <p:sldLayoutId id="2147486168" r:id="rId2"/>
    <p:sldLayoutId id="2147486169" r:id="rId3"/>
    <p:sldLayoutId id="2147486170" r:id="rId4"/>
    <p:sldLayoutId id="2147486171" r:id="rId5"/>
    <p:sldLayoutId id="2147486172" r:id="rId6"/>
    <p:sldLayoutId id="2147486173" r:id="rId7"/>
    <p:sldLayoutId id="2147486174" r:id="rId8"/>
    <p:sldLayoutId id="2147486175" r:id="rId9"/>
    <p:sldLayoutId id="2147486176" r:id="rId10"/>
    <p:sldLayoutId id="2147486177" r:id="rId11"/>
    <p:sldLayoutId id="2147486178" r:id="rId12"/>
    <p:sldLayoutId id="2147486179" r:id="rId13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 smtClean="0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2F4A357-2B98-4EFE-BCBA-CEC24098F0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460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81" r:id="rId1"/>
    <p:sldLayoutId id="2147486182" r:id="rId2"/>
    <p:sldLayoutId id="2147486183" r:id="rId3"/>
    <p:sldLayoutId id="2147486184" r:id="rId4"/>
    <p:sldLayoutId id="2147486185" r:id="rId5"/>
    <p:sldLayoutId id="2147486186" r:id="rId6"/>
    <p:sldLayoutId id="2147486187" r:id="rId7"/>
    <p:sldLayoutId id="2147486188" r:id="rId8"/>
    <p:sldLayoutId id="2147486189" r:id="rId9"/>
    <p:sldLayoutId id="2147486190" r:id="rId10"/>
    <p:sldLayoutId id="2147486191" r:id="rId11"/>
    <p:sldLayoutId id="2147486192" r:id="rId12"/>
    <p:sldLayoutId id="2147486193" r:id="rId13"/>
    <p:sldLayoutId id="2147486194" r:id="rId14"/>
    <p:sldLayoutId id="2147486195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 smtClean="0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2F4A357-2B98-4EFE-BCBA-CEC24098F0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371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97" r:id="rId1"/>
    <p:sldLayoutId id="2147486198" r:id="rId2"/>
    <p:sldLayoutId id="2147486199" r:id="rId3"/>
    <p:sldLayoutId id="2147486200" r:id="rId4"/>
    <p:sldLayoutId id="2147486201" r:id="rId5"/>
    <p:sldLayoutId id="2147486202" r:id="rId6"/>
    <p:sldLayoutId id="2147486203" r:id="rId7"/>
    <p:sldLayoutId id="2147486204" r:id="rId8"/>
    <p:sldLayoutId id="2147486205" r:id="rId9"/>
    <p:sldLayoutId id="2147486206" r:id="rId10"/>
    <p:sldLayoutId id="2147486207" r:id="rId11"/>
    <p:sldLayoutId id="2147486208" r:id="rId12"/>
    <p:sldLayoutId id="2147486209" r:id="rId13"/>
    <p:sldLayoutId id="2147486210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D0342C4-6C74-4B39-9C12-F158E280AB5F}" type="datetimeFigureOut">
              <a:rPr lang="en-US" smtClean="0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2F4A357-2B98-4EFE-BCBA-CEC24098F09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789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2" r:id="rId1"/>
    <p:sldLayoutId id="2147486213" r:id="rId2"/>
    <p:sldLayoutId id="2147486214" r:id="rId3"/>
    <p:sldLayoutId id="2147486215" r:id="rId4"/>
    <p:sldLayoutId id="2147486216" r:id="rId5"/>
    <p:sldLayoutId id="2147486217" r:id="rId6"/>
    <p:sldLayoutId id="2147486218" r:id="rId7"/>
    <p:sldLayoutId id="2147486219" r:id="rId8"/>
    <p:sldLayoutId id="2147486220" r:id="rId9"/>
    <p:sldLayoutId id="2147486221" r:id="rId10"/>
    <p:sldLayoutId id="2147486222" r:id="rId11"/>
    <p:sldLayoutId id="2147486223" r:id="rId12"/>
    <p:sldLayoutId id="2147486224" r:id="rId13"/>
    <p:sldLayoutId id="2147486225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228600"/>
            <a:ext cx="81534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612775" y="1600200"/>
            <a:ext cx="8153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C0E055A-E414-4697-B344-D0EA6CEEC356}" type="datetimeFigureOut">
              <a:rPr lang="en-US">
                <a:solidFill>
                  <a:srgbClr val="309321"/>
                </a:solidFill>
              </a:rPr>
              <a:pPr>
                <a:defRPr/>
              </a:pPr>
              <a:t>3/16/2020</a:t>
            </a:fld>
            <a:endParaRPr lang="en-US">
              <a:solidFill>
                <a:srgbClr val="30932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 vert="horz" anchor="ctr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>
                <a:solidFill>
                  <a:schemeClr val="tx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30932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5075"/>
            <a:ext cx="9144000" cy="31908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1279525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79525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400" b="1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E8C7D61-88E3-436D-92FF-0FF7E34931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212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7" r:id="rId1"/>
    <p:sldLayoutId id="2147486228" r:id="rId2"/>
    <p:sldLayoutId id="2147486229" r:id="rId3"/>
    <p:sldLayoutId id="2147486230" r:id="rId4"/>
    <p:sldLayoutId id="2147486231" r:id="rId5"/>
    <p:sldLayoutId id="2147486232" r:id="rId6"/>
    <p:sldLayoutId id="2147486233" r:id="rId7"/>
    <p:sldLayoutId id="2147486234" r:id="rId8"/>
    <p:sldLayoutId id="2147486235" r:id="rId9"/>
    <p:sldLayoutId id="2147486236" r:id="rId10"/>
    <p:sldLayoutId id="2147486237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w Cen MT" pitchFamily="34" charset="0"/>
        </a:defRPr>
      </a:lvl9pPr>
    </p:titleStyle>
    <p:bodyStyle>
      <a:lvl1pPr marL="319088" indent="-319088" algn="l" rtl="0" eaLnBrk="0" fontAlgn="base" hangingPunct="0">
        <a:spcBef>
          <a:spcPts val="700"/>
        </a:spcBef>
        <a:spcAft>
          <a:spcPct val="0"/>
        </a:spcAft>
        <a:buClr>
          <a:schemeClr val="accent2"/>
        </a:buClr>
        <a:buSzPct val="60000"/>
        <a:buFont typeface="Wingdings" pitchFamily="2" charset="2"/>
        <a:buChar char="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73050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SzPct val="70000"/>
        <a:buFont typeface="Wingdings 2" pitchFamily="18" charset="2"/>
        <a:buChar char="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ts val="500"/>
        </a:spcBef>
        <a:spcAft>
          <a:spcPct val="0"/>
        </a:spcAft>
        <a:buClr>
          <a:schemeClr val="accent2"/>
        </a:buClr>
        <a:buSzPct val="75000"/>
        <a:buFont typeface="Wingdings" pitchFamily="2" charset="2"/>
        <a:buChar char="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0" fontAlgn="base" hangingPunct="0">
        <a:spcBef>
          <a:spcPts val="400"/>
        </a:spcBef>
        <a:spcAft>
          <a:spcPct val="0"/>
        </a:spcAft>
        <a:buClr>
          <a:srgbClr val="E7BC29"/>
        </a:buClr>
        <a:buSzPct val="7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0" fontAlgn="base" hangingPunct="0">
        <a:spcBef>
          <a:spcPts val="400"/>
        </a:spcBef>
        <a:spcAft>
          <a:spcPct val="0"/>
        </a:spcAft>
        <a:buClr>
          <a:srgbClr val="D092A7"/>
        </a:buClr>
        <a:buSzPct val="65000"/>
        <a:buFont typeface="Wingdings" pitchFamily="2" charset="2"/>
        <a:buChar char="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Образец заголовка</a:t>
            </a:r>
            <a:endParaRPr lang="ru-RU" smtClean="0"/>
          </a:p>
        </p:txBody>
      </p:sp>
      <p:sp>
        <p:nvSpPr>
          <p:cNvPr id="921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Образец текста</a:t>
            </a:r>
          </a:p>
          <a:p>
            <a:pPr lvl="1"/>
            <a:r>
              <a:rPr lang="en-US" smtClean="0"/>
              <a:t>Второй уровень</a:t>
            </a:r>
          </a:p>
          <a:p>
            <a:pPr lvl="2"/>
            <a:r>
              <a:rPr lang="en-US" smtClean="0"/>
              <a:t>Третий уровень</a:t>
            </a:r>
          </a:p>
          <a:p>
            <a:pPr lvl="3"/>
            <a:r>
              <a:rPr lang="en-US" smtClean="0"/>
              <a:t>Четвертый уровень</a:t>
            </a:r>
          </a:p>
          <a:p>
            <a:pPr lvl="4"/>
            <a:r>
              <a:rPr lang="en-US" smtClean="0"/>
              <a:t>Пятый уровень</a:t>
            </a:r>
            <a:endParaRPr lang="ru-RU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71EBF63-D8C4-4C2D-83A2-E86BD3392677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342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9" r:id="rId17"/>
    <p:sldLayoutId id="2147483840" r:id="rId18"/>
    <p:sldLayoutId id="2147483841" r:id="rId19"/>
    <p:sldLayoutId id="2147483842" r:id="rId20"/>
    <p:sldLayoutId id="2147483843" r:id="rId2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75" y="-815975"/>
            <a:ext cx="1638300" cy="1638300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275" y="20638"/>
            <a:ext cx="1703388" cy="1703387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25" y="0"/>
            <a:ext cx="813117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100" y="274638"/>
            <a:ext cx="749935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5849" name="Текст 8"/>
          <p:cNvSpPr>
            <a:spLocks noGrp="1"/>
          </p:cNvSpPr>
          <p:nvPr>
            <p:ph type="body" idx="1"/>
          </p:nvPr>
        </p:nvSpPr>
        <p:spPr bwMode="auto">
          <a:xfrm>
            <a:off x="1435100" y="1447800"/>
            <a:ext cx="749935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rgbClr val="E7DEC9">
                    <a:shade val="50000"/>
                    <a:satMod val="200000"/>
                  </a:srgbClr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E0EAF5B0-1F87-4FBC-BAA5-38A8C5774024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rgbClr val="E7DEC9">
                    <a:shade val="50000"/>
                    <a:satMod val="200000"/>
                  </a:srgbClr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ru-RU"/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775" y="6305550"/>
            <a:ext cx="4572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B5A788"/>
                </a:solidFill>
                <a:latin typeface="Corbel" panose="020B0503020204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CAA67E4-6AD7-44B5-B00E-28C4143771A2}" type="slidenum">
              <a:rPr lang="ru-RU" altLang="ru-RU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413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185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9" r:id="rId1"/>
    <p:sldLayoutId id="2147486240" r:id="rId2"/>
    <p:sldLayoutId id="2147486241" r:id="rId3"/>
    <p:sldLayoutId id="2147486242" r:id="rId4"/>
    <p:sldLayoutId id="2147486243" r:id="rId5"/>
    <p:sldLayoutId id="2147486244" r:id="rId6"/>
    <p:sldLayoutId id="2147486245" r:id="rId7"/>
    <p:sldLayoutId id="2147486246" r:id="rId8"/>
    <p:sldLayoutId id="2147486247" r:id="rId9"/>
    <p:sldLayoutId id="2147486248" r:id="rId10"/>
    <p:sldLayoutId id="2147486249" r:id="rId11"/>
    <p:sldLayoutId id="2147486250" r:id="rId12"/>
    <p:sldLayoutId id="2147486251" r:id="rId13"/>
    <p:sldLayoutId id="2147486252" r:id="rId14"/>
    <p:sldLayoutId id="2147486253" r:id="rId15"/>
    <p:sldLayoutId id="2147486254" r:id="rId16"/>
    <p:sldLayoutId id="2147486255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300" kern="1200">
          <a:solidFill>
            <a:srgbClr val="572314"/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9pPr>
      <a:extLst/>
    </p:titleStyle>
    <p:bodyStyle>
      <a:lvl1pPr marL="365125" indent="-282575" algn="l" rtl="0" eaLnBrk="0" fontAlgn="base" hangingPunct="0">
        <a:spcBef>
          <a:spcPts val="6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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36538" algn="l" rtl="0" eaLnBrk="0" fontAlgn="base" hangingPunct="0">
        <a:spcBef>
          <a:spcPts val="550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5825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173038" algn="l" rtl="0" eaLnBrk="0" fontAlgn="base" hangingPunct="0">
        <a:spcBef>
          <a:spcPct val="20000"/>
        </a:spcBef>
        <a:spcAft>
          <a:spcPct val="0"/>
        </a:spcAft>
        <a:buClr>
          <a:srgbClr val="C32D2E"/>
        </a:buClr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6988" indent="-182563" algn="l" rtl="0" eaLnBrk="0" fontAlgn="base" hangingPunct="0">
        <a:spcBef>
          <a:spcPct val="20000"/>
        </a:spcBef>
        <a:spcAft>
          <a:spcPct val="0"/>
        </a:spcAft>
        <a:buClr>
          <a:srgbClr val="84AA33"/>
        </a:buClr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481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E8403C-4263-4D18-BF03-79C05ED9F1A5}" type="datetimeFigureOut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2C4B3B-BDA2-4905-99D4-A3BB2019C80B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34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7" r:id="rId1"/>
    <p:sldLayoutId id="2147486258" r:id="rId2"/>
    <p:sldLayoutId id="2147486259" r:id="rId3"/>
    <p:sldLayoutId id="2147486260" r:id="rId4"/>
    <p:sldLayoutId id="2147486261" r:id="rId5"/>
    <p:sldLayoutId id="2147486262" r:id="rId6"/>
    <p:sldLayoutId id="2147486263" r:id="rId7"/>
    <p:sldLayoutId id="2147486264" r:id="rId8"/>
    <p:sldLayoutId id="2147486265" r:id="rId9"/>
    <p:sldLayoutId id="2147486266" r:id="rId10"/>
    <p:sldLayoutId id="2147486267" r:id="rId11"/>
    <p:sldLayoutId id="2147486268" r:id="rId12"/>
    <p:sldLayoutId id="2147486269" r:id="rId13"/>
    <p:sldLayoutId id="2147486270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4F2AE3-A92B-42D5-AE39-80716B30BE0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A0A271-F630-4496-9B4C-0A64920CB1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22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72" r:id="rId1"/>
    <p:sldLayoutId id="2147486273" r:id="rId2"/>
    <p:sldLayoutId id="2147486274" r:id="rId3"/>
    <p:sldLayoutId id="2147486275" r:id="rId4"/>
    <p:sldLayoutId id="2147486276" r:id="rId5"/>
    <p:sldLayoutId id="2147486277" r:id="rId6"/>
    <p:sldLayoutId id="2147486278" r:id="rId7"/>
    <p:sldLayoutId id="2147486279" r:id="rId8"/>
    <p:sldLayoutId id="2147486280" r:id="rId9"/>
    <p:sldLayoutId id="2147486281" r:id="rId10"/>
    <p:sldLayoutId id="214748628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4F2AE3-A92B-42D5-AE39-80716B30BE0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A0A271-F630-4496-9B4C-0A64920CB1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426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84" r:id="rId1"/>
    <p:sldLayoutId id="2147486285" r:id="rId2"/>
    <p:sldLayoutId id="2147486286" r:id="rId3"/>
    <p:sldLayoutId id="2147486287" r:id="rId4"/>
    <p:sldLayoutId id="2147486288" r:id="rId5"/>
    <p:sldLayoutId id="2147486289" r:id="rId6"/>
    <p:sldLayoutId id="2147486290" r:id="rId7"/>
    <p:sldLayoutId id="2147486291" r:id="rId8"/>
    <p:sldLayoutId id="2147486292" r:id="rId9"/>
    <p:sldLayoutId id="2147486293" r:id="rId10"/>
    <p:sldLayoutId id="214748629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55299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351D133-59F2-42D4-8DD6-E4822B408A1C}" type="datetimeFigureOut">
              <a:rPr lang="ru-RU"/>
              <a:pPr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01D3C8D-7C91-4F40-A2D5-41E51893FE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9894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08" r:id="rId1"/>
    <p:sldLayoutId id="2147486309" r:id="rId2"/>
    <p:sldLayoutId id="2147486310" r:id="rId3"/>
    <p:sldLayoutId id="2147486311" r:id="rId4"/>
    <p:sldLayoutId id="2147486312" r:id="rId5"/>
    <p:sldLayoutId id="2147486313" r:id="rId6"/>
    <p:sldLayoutId id="2147486314" r:id="rId7"/>
    <p:sldLayoutId id="2147486315" r:id="rId8"/>
    <p:sldLayoutId id="2147486316" r:id="rId9"/>
    <p:sldLayoutId id="2147486317" r:id="rId10"/>
    <p:sldLayoutId id="2147486318" r:id="rId11"/>
    <p:sldLayoutId id="2147486319" r:id="rId12"/>
    <p:sldLayoutId id="2147486320" r:id="rId13"/>
    <p:sldLayoutId id="2147486321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>
            <a:extLst>
              <a:ext uri="{FF2B5EF4-FFF2-40B4-BE49-F238E27FC236}">
                <a16:creationId xmlns="" xmlns:a16="http://schemas.microsoft.com/office/drawing/2014/main" id="{5710DB5C-68BF-4E6E-A50D-AF68F583FDF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8195" name="Текст 2">
            <a:extLst>
              <a:ext uri="{FF2B5EF4-FFF2-40B4-BE49-F238E27FC236}">
                <a16:creationId xmlns="" xmlns:a16="http://schemas.microsoft.com/office/drawing/2014/main" id="{3F9199BC-80E0-4558-9DEA-2778A0714F1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F9D872B-7B92-40AC-B938-704F8B289D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0B45B312-3A5A-42D2-BB61-7DBC483750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Myriad Pro" panose="020B0503030403020204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10D726C-F19E-4346-A745-951CDEF42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Myriad Pro" panose="020B0503030403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2C87D9-1757-4CE4-8947-C4D723E8BCC4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487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35" r:id="rId1"/>
    <p:sldLayoutId id="2147486336" r:id="rId2"/>
    <p:sldLayoutId id="2147486337" r:id="rId3"/>
    <p:sldLayoutId id="2147486338" r:id="rId4"/>
    <p:sldLayoutId id="2147486339" r:id="rId5"/>
    <p:sldLayoutId id="2147486340" r:id="rId6"/>
    <p:sldLayoutId id="2147486341" r:id="rId7"/>
    <p:sldLayoutId id="2147486342" r:id="rId8"/>
    <p:sldLayoutId id="2147486343" r:id="rId9"/>
    <p:sldLayoutId id="2147486344" r:id="rId10"/>
    <p:sldLayoutId id="2147486345" r:id="rId11"/>
    <p:sldLayoutId id="2147486346" r:id="rId12"/>
    <p:sldLayoutId id="2147486347" r:id="rId13"/>
    <p:sldLayoutId id="2147486348" r:id="rId14"/>
    <p:sldLayoutId id="2147486349" r:id="rId15"/>
    <p:sldLayoutId id="2147486350" r:id="rId16"/>
    <p:sldLayoutId id="2147486351" r:id="rId17"/>
    <p:sldLayoutId id="2147486352" r:id="rId18"/>
    <p:sldLayoutId id="2147486353" r:id="rId19"/>
    <p:sldLayoutId id="2147486354" r:id="rId20"/>
    <p:sldLayoutId id="2147486355" r:id="rId21"/>
    <p:sldLayoutId id="2147486356" r:id="rId22"/>
  </p:sldLayoutIdLst>
  <p:transition spd="slow"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75" y="-815975"/>
            <a:ext cx="1638300" cy="1638300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275" y="20638"/>
            <a:ext cx="1703388" cy="1703387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2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27" y="0"/>
            <a:ext cx="813117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101" y="274638"/>
            <a:ext cx="749935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273" name="Текст 8"/>
          <p:cNvSpPr>
            <a:spLocks noGrp="1"/>
          </p:cNvSpPr>
          <p:nvPr>
            <p:ph type="body" idx="1"/>
          </p:nvPr>
        </p:nvSpPr>
        <p:spPr bwMode="auto">
          <a:xfrm>
            <a:off x="1435101" y="1447800"/>
            <a:ext cx="749935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F2FA9067-DE46-4BDC-8840-ABEF20E1C291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775" y="6305550"/>
            <a:ext cx="457200" cy="47625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B5A788"/>
                </a:solidFill>
                <a:latin typeface="Corbel" panose="020B0503020204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426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52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76" r:id="rId1"/>
    <p:sldLayoutId id="2147486377" r:id="rId2"/>
    <p:sldLayoutId id="2147486378" r:id="rId3"/>
    <p:sldLayoutId id="2147486379" r:id="rId4"/>
    <p:sldLayoutId id="2147486380" r:id="rId5"/>
    <p:sldLayoutId id="2147486381" r:id="rId6"/>
    <p:sldLayoutId id="2147486382" r:id="rId7"/>
    <p:sldLayoutId id="2147486383" r:id="rId8"/>
    <p:sldLayoutId id="2147486384" r:id="rId9"/>
    <p:sldLayoutId id="2147486385" r:id="rId10"/>
    <p:sldLayoutId id="2147486386" r:id="rId11"/>
    <p:sldLayoutId id="2147486387" r:id="rId12"/>
    <p:sldLayoutId id="2147486388" r:id="rId13"/>
    <p:sldLayoutId id="2147486389" r:id="rId14"/>
    <p:sldLayoutId id="2147486390" r:id="rId15"/>
    <p:sldLayoutId id="2147486391" r:id="rId16"/>
    <p:sldLayoutId id="2147486392" r:id="rId1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300" kern="1200">
          <a:solidFill>
            <a:srgbClr val="572314"/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9pPr>
      <a:extLst/>
    </p:titleStyle>
    <p:bodyStyle>
      <a:lvl1pPr marL="365125" indent="-282575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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36538" algn="l" rtl="0" eaLnBrk="1" fontAlgn="base" hangingPunct="1">
        <a:spcBef>
          <a:spcPts val="550"/>
        </a:spcBef>
        <a:spcAft>
          <a:spcPct val="0"/>
        </a:spcAft>
        <a:buClr>
          <a:schemeClr val="accent1"/>
        </a:buClr>
        <a:buFont typeface="Verdana" panose="020B0604030504040204" pitchFamily="34" charset="0"/>
        <a:buChar char="◦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5825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 2" panose="05020102010507070707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173038" algn="l" rtl="0" eaLnBrk="1" fontAlgn="base" hangingPunct="1">
        <a:spcBef>
          <a:spcPct val="20000"/>
        </a:spcBef>
        <a:spcAft>
          <a:spcPct val="0"/>
        </a:spcAft>
        <a:buClr>
          <a:srgbClr val="C32D2E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6988" indent="-182563" algn="l" rtl="0" eaLnBrk="1" fontAlgn="base" hangingPunct="1">
        <a:spcBef>
          <a:spcPct val="20000"/>
        </a:spcBef>
        <a:spcAft>
          <a:spcPct val="0"/>
        </a:spcAft>
        <a:buClr>
          <a:srgbClr val="84AA33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5129286-10F4-4388-94D5-5D5AE309E933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163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94" r:id="rId1"/>
    <p:sldLayoutId id="2147486395" r:id="rId2"/>
    <p:sldLayoutId id="2147486396" r:id="rId3"/>
    <p:sldLayoutId id="2147486397" r:id="rId4"/>
    <p:sldLayoutId id="2147486398" r:id="rId5"/>
    <p:sldLayoutId id="2147486399" r:id="rId6"/>
    <p:sldLayoutId id="2147486400" r:id="rId7"/>
    <p:sldLayoutId id="2147486401" r:id="rId8"/>
    <p:sldLayoutId id="2147486402" r:id="rId9"/>
    <p:sldLayoutId id="2147486403" r:id="rId10"/>
    <p:sldLayoutId id="2147486404" r:id="rId11"/>
    <p:sldLayoutId id="2147486405" r:id="rId12"/>
    <p:sldLayoutId id="2147486406" r:id="rId13"/>
    <p:sldLayoutId id="2147486407" r:id="rId14"/>
    <p:sldLayoutId id="2147486408" r:id="rId15"/>
    <p:sldLayoutId id="2147486409" r:id="rId16"/>
    <p:sldLayoutId id="2147486410" r:id="rId17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000">
              <a:srgbClr val="9999FF">
                <a:lumMod val="52000"/>
                <a:lumOff val="48000"/>
              </a:srgbClr>
            </a:gs>
            <a:gs pos="37000">
              <a:srgbClr val="F0EBD5"/>
            </a:gs>
            <a:gs pos="94000">
              <a:srgbClr val="D1C39F">
                <a:lumMod val="67000"/>
                <a:lumOff val="33000"/>
                <a:alpha val="70000"/>
              </a:srgb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Щелчок правит образец заголовка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Щелчок правит 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i="0"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i="0"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i="0"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D627976-CD14-420A-95F4-B38815B2CE11}" type="slidenum">
              <a:rPr lang="ru-RU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673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30" r:id="rId1"/>
    <p:sldLayoutId id="2147486431" r:id="rId2"/>
    <p:sldLayoutId id="2147486432" r:id="rId3"/>
    <p:sldLayoutId id="2147486433" r:id="rId4"/>
    <p:sldLayoutId id="2147486434" r:id="rId5"/>
    <p:sldLayoutId id="2147486435" r:id="rId6"/>
    <p:sldLayoutId id="2147486436" r:id="rId7"/>
    <p:sldLayoutId id="2147486437" r:id="rId8"/>
    <p:sldLayoutId id="2147486438" r:id="rId9"/>
    <p:sldLayoutId id="2147486439" r:id="rId10"/>
    <p:sldLayoutId id="2147486440" r:id="rId11"/>
    <p:sldLayoutId id="2147486441" r:id="rId12"/>
    <p:sldLayoutId id="2147486442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AB8289-52B7-47BD-80CE-7DDC515374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130D6A-A308-4557-8BF7-6E3046B2272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199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44" r:id="rId1"/>
    <p:sldLayoutId id="2147486445" r:id="rId2"/>
    <p:sldLayoutId id="2147486446" r:id="rId3"/>
    <p:sldLayoutId id="2147486447" r:id="rId4"/>
    <p:sldLayoutId id="2147486448" r:id="rId5"/>
    <p:sldLayoutId id="2147486449" r:id="rId6"/>
    <p:sldLayoutId id="2147486450" r:id="rId7"/>
    <p:sldLayoutId id="2147486451" r:id="rId8"/>
    <p:sldLayoutId id="2147486452" r:id="rId9"/>
    <p:sldLayoutId id="2147486453" r:id="rId10"/>
    <p:sldLayoutId id="2147486454" r:id="rId11"/>
    <p:sldLayoutId id="214748645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7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4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11CD27-0D82-4254-9A36-B820F0D5361A}" type="datetimeFigureOut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B6449A-C326-4E98-8C6D-50FF7962BFD8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562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3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r:id="rId18" imgW="360" imgH="360" progId="">
                  <p:embed/>
                </p:oleObj>
              </mc:Choice>
              <mc:Fallback>
                <p:oleObj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381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17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4400" dirty="0">
              <a:solidFill>
                <a:prstClr val="white"/>
              </a:solidFill>
              <a:latin typeface="Calibri Light" pitchFamily="34" charset="0"/>
              <a:sym typeface="Calibri Light" pitchFamily="34" charset="0"/>
            </a:endParaRPr>
          </a:p>
        </p:txBody>
      </p:sp>
      <p:sp>
        <p:nvSpPr>
          <p:cNvPr id="1028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628650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9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A1F4BE-6FFC-4CCA-92DC-F9DA3AF2B332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FE6DD37-92BF-4A3D-824B-A3B5B355046F}" type="slidenum">
              <a:rPr lang="ru-RU" altLang="zh-CN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zh-CN" smtClean="0"/>
          </a:p>
        </p:txBody>
      </p:sp>
    </p:spTree>
    <p:extLst>
      <p:ext uri="{BB962C8B-B14F-4D97-AF65-F5344CB8AC3E}">
        <p14:creationId xmlns:p14="http://schemas.microsoft.com/office/powerpoint/2010/main" val="145706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58" r:id="rId1"/>
    <p:sldLayoutId id="2147486459" r:id="rId2"/>
    <p:sldLayoutId id="2147486460" r:id="rId3"/>
    <p:sldLayoutId id="2147486461" r:id="rId4"/>
    <p:sldLayoutId id="2147486462" r:id="rId5"/>
    <p:sldLayoutId id="2147486463" r:id="rId6"/>
    <p:sldLayoutId id="2147486464" r:id="rId7"/>
    <p:sldLayoutId id="2147486465" r:id="rId8"/>
    <p:sldLayoutId id="2147486466" r:id="rId9"/>
    <p:sldLayoutId id="2147486467" r:id="rId10"/>
    <p:sldLayoutId id="2147486468" r:id="rId11"/>
    <p:sldLayoutId id="2147486469" r:id="rId12"/>
    <p:sldLayoutId id="2147486470" r:id="rId1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8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4" hidden="1"/>
          <p:cNvGraphicFramePr>
            <a:graphicFrameLocks noChangeAspect="1"/>
          </p:cNvGraphicFramePr>
          <p:nvPr>
            <p:custDataLst>
              <p:tags r:id="rId34"/>
            </p:custDataLst>
          </p:nvPr>
        </p:nvGraphicFramePr>
        <p:xfrm>
          <a:off x="1192" y="1595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r:id="rId36" imgW="360" imgH="360" progId="TCLayout.ActiveDocument.1">
                  <p:embed/>
                </p:oleObj>
              </mc:Choice>
              <mc:Fallback>
                <p:oleObj r:id="rId3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595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5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800" b="1" dirty="0" err="1">
              <a:solidFill>
                <a:srgbClr val="FFFFFF"/>
              </a:solidFill>
              <a:sym typeface="Arial" panose="02080604020202020204" pitchFamily="34" charset="0"/>
            </a:endParaRPr>
          </a:p>
        </p:txBody>
      </p:sp>
      <p:sp>
        <p:nvSpPr>
          <p:cNvPr id="14340" name="Title Placeholder 1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85750" y="71438"/>
            <a:ext cx="8572500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4341" name="Text Placeholder 2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285750" y="1257300"/>
            <a:ext cx="8572500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85750" y="1106488"/>
            <a:ext cx="8572500" cy="0"/>
          </a:xfrm>
          <a:prstGeom prst="line">
            <a:avLst/>
          </a:prstGeom>
          <a:ln w="762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858250" y="6483350"/>
            <a:ext cx="285750" cy="3746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4B403C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BDF86F8-801E-4579-9ED8-E86051509AC3}" type="slidenum">
              <a:rPr lang="en-US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smtClean="0"/>
          </a:p>
        </p:txBody>
      </p:sp>
    </p:spTree>
    <p:extLst>
      <p:ext uri="{BB962C8B-B14F-4D97-AF65-F5344CB8AC3E}">
        <p14:creationId xmlns:p14="http://schemas.microsoft.com/office/powerpoint/2010/main" val="4046398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472" r:id="rId1"/>
    <p:sldLayoutId id="2147486473" r:id="rId2"/>
    <p:sldLayoutId id="2147486474" r:id="rId3"/>
    <p:sldLayoutId id="2147486475" r:id="rId4"/>
    <p:sldLayoutId id="2147486476" r:id="rId5"/>
    <p:sldLayoutId id="2147486477" r:id="rId6"/>
    <p:sldLayoutId id="2147486478" r:id="rId7"/>
    <p:sldLayoutId id="2147486479" r:id="rId8"/>
    <p:sldLayoutId id="2147486480" r:id="rId9"/>
    <p:sldLayoutId id="2147486481" r:id="rId10"/>
    <p:sldLayoutId id="2147486482" r:id="rId11"/>
    <p:sldLayoutId id="2147486483" r:id="rId12"/>
    <p:sldLayoutId id="2147486484" r:id="rId13"/>
    <p:sldLayoutId id="2147486485" r:id="rId14"/>
    <p:sldLayoutId id="2147486486" r:id="rId15"/>
    <p:sldLayoutId id="2147486487" r:id="rId16"/>
    <p:sldLayoutId id="2147486488" r:id="rId17"/>
    <p:sldLayoutId id="2147486489" r:id="rId18"/>
    <p:sldLayoutId id="2147486490" r:id="rId19"/>
    <p:sldLayoutId id="2147486491" r:id="rId20"/>
    <p:sldLayoutId id="2147486492" r:id="rId21"/>
    <p:sldLayoutId id="2147486493" r:id="rId22"/>
    <p:sldLayoutId id="2147486494" r:id="rId23"/>
    <p:sldLayoutId id="2147486495" r:id="rId24"/>
    <p:sldLayoutId id="2147486496" r:id="rId25"/>
    <p:sldLayoutId id="2147486497" r:id="rId26"/>
    <p:sldLayoutId id="2147486498" r:id="rId27"/>
    <p:sldLayoutId id="2147486499" r:id="rId28"/>
    <p:sldLayoutId id="2147486500" r:id="rId29"/>
    <p:sldLayoutId id="2147486501" r:id="rId30"/>
    <p:sldLayoutId id="2147486502" r:id="rId31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lang="en-US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9pPr>
    </p:titleStyle>
    <p:bodyStyle>
      <a:lvl1pPr marL="231775" indent="-231775" algn="l" rtl="0" fontAlgn="base">
        <a:lnSpc>
          <a:spcPct val="95000"/>
        </a:lnSpc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Wingdings" pitchFamily="2" charset="2"/>
        <a:buChar char=""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461963" indent="-230188" algn="l" rtl="0" fontAlgn="base">
        <a:spcBef>
          <a:spcPts val="400"/>
        </a:spcBef>
        <a:spcAft>
          <a:spcPct val="0"/>
        </a:spcAft>
        <a:buClr>
          <a:schemeClr val="accent1"/>
        </a:buClr>
        <a:buFont typeface="Calibri" pitchFamily="34" charset="0"/>
        <a:buChar char="─"/>
        <a:defRPr sz="2000" kern="1200">
          <a:solidFill>
            <a:schemeClr val="bg2"/>
          </a:solidFill>
          <a:latin typeface="+mn-lt"/>
          <a:ea typeface="+mn-ea"/>
          <a:cs typeface="+mn-cs"/>
        </a:defRPr>
      </a:lvl2pPr>
      <a:lvl3pPr marL="682625" indent="-220663" algn="l" rtl="0" fontAlgn="base">
        <a:spcBef>
          <a:spcPts val="200"/>
        </a:spcBef>
        <a:spcAft>
          <a:spcPct val="0"/>
        </a:spcAft>
        <a:buClr>
          <a:schemeClr val="accent1"/>
        </a:buClr>
        <a:buFont typeface="Courier New" pitchFamily="49" charset="0"/>
        <a:buChar char="o"/>
        <a:defRPr kern="1200">
          <a:solidFill>
            <a:schemeClr val="bg2"/>
          </a:solidFill>
          <a:latin typeface="+mn-lt"/>
          <a:ea typeface="+mn-ea"/>
          <a:cs typeface="+mn-cs"/>
        </a:defRPr>
      </a:lvl3pPr>
      <a:lvl4pPr marL="858838" indent="-176213" algn="l" rtl="0" fontAlgn="base">
        <a:spcBef>
          <a:spcPts val="200"/>
        </a:spcBef>
        <a:spcAft>
          <a:spcPct val="0"/>
        </a:spcAft>
        <a:buClr>
          <a:schemeClr val="accent1"/>
        </a:buClr>
        <a:buFont typeface="Wingdings" pitchFamily="2" charset="2"/>
        <a:buChar char="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1023938" indent="-165100" algn="l" rtl="0" fontAlgn="base">
        <a:spcBef>
          <a:spcPts val="200"/>
        </a:spcBef>
        <a:spcAft>
          <a:spcPct val="0"/>
        </a:spcAft>
        <a:buClr>
          <a:schemeClr val="accent1"/>
        </a:buClr>
        <a:buFont typeface="Calibri" pitchFamily="34" charset="0"/>
        <a:buChar char="–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109982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299845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49987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699895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3137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9"/>
            <a:ext cx="8229600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6200" tIns="38100" rIns="76200" bIns="381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2238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334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  <p:sldLayoutId id="2147483876" r:id="rId17"/>
    <p:sldLayoutId id="2147483877" r:id="rId18"/>
    <p:sldLayoutId id="2147483878" r:id="rId19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5pPr>
      <a:lvl6pPr marL="4572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6pPr>
      <a:lvl7pPr marL="9144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7pPr>
      <a:lvl8pPr marL="13716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8pPr>
      <a:lvl9pPr marL="1828800"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3000" b="1">
          <a:solidFill>
            <a:srgbClr val="FAFD00"/>
          </a:solidFill>
          <a:latin typeface="Arial" charset="0"/>
        </a:defRPr>
      </a:lvl9pPr>
    </p:titleStyle>
    <p:bodyStyle>
      <a:lvl1pPr marL="233363" indent="-233363" algn="l" rtl="0" eaLnBrk="0" fontAlgn="base" hangingPunct="0">
        <a:spcBef>
          <a:spcPct val="20000"/>
        </a:spcBef>
        <a:spcAft>
          <a:spcPct val="0"/>
        </a:spcAft>
        <a:buClr>
          <a:srgbClr val="FAFD00"/>
        </a:buClr>
        <a:buSzPct val="116000"/>
        <a:buChar char="•"/>
        <a:tabLst>
          <a:tab pos="568325" algn="l"/>
        </a:tabLst>
        <a:defRPr sz="2400">
          <a:solidFill>
            <a:srgbClr val="FFFFFF"/>
          </a:solidFill>
          <a:latin typeface="+mn-lt"/>
          <a:ea typeface="+mn-ea"/>
          <a:cs typeface="+mn-cs"/>
        </a:defRPr>
      </a:lvl1pPr>
      <a:lvl2pPr marL="627063" indent="-279400" algn="l" rtl="0" eaLnBrk="0" fontAlgn="base" hangingPunct="0">
        <a:spcBef>
          <a:spcPct val="20000"/>
        </a:spcBef>
        <a:spcAft>
          <a:spcPct val="0"/>
        </a:spcAft>
        <a:buSzPct val="100000"/>
        <a:buChar char="–"/>
        <a:tabLst>
          <a:tab pos="568325" algn="l"/>
        </a:tabLst>
        <a:defRPr sz="2200">
          <a:solidFill>
            <a:srgbClr val="FFFFFF"/>
          </a:solidFill>
          <a:latin typeface="+mn-lt"/>
        </a:defRPr>
      </a:lvl2pPr>
      <a:lvl3pPr marL="1027113" indent="-285750" algn="l" rtl="0" eaLnBrk="0" fontAlgn="base" hangingPunct="0">
        <a:spcBef>
          <a:spcPct val="20000"/>
        </a:spcBef>
        <a:spcAft>
          <a:spcPct val="0"/>
        </a:spcAft>
        <a:buSzPct val="100000"/>
        <a:buFont typeface="Wingdings" pitchFamily="2" charset="2"/>
        <a:buChar char="ü"/>
        <a:tabLst>
          <a:tab pos="568325" algn="l"/>
        </a:tabLst>
        <a:defRPr sz="2000">
          <a:solidFill>
            <a:srgbClr val="FF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–"/>
        <a:tabLst>
          <a:tab pos="568325" algn="l"/>
        </a:tabLst>
        <a:defRPr sz="2000">
          <a:solidFill>
            <a:srgbClr val="FFFFFF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100000"/>
        <a:buChar char="»"/>
        <a:tabLst>
          <a:tab pos="568325" algn="l"/>
        </a:tabLst>
        <a:defRPr sz="2000">
          <a:solidFill>
            <a:srgbClr val="FFFFFF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75" y="-815974"/>
            <a:ext cx="1638300" cy="1638300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275" y="20641"/>
            <a:ext cx="1703388" cy="1703387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3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27" y="0"/>
            <a:ext cx="813117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101" y="274637"/>
            <a:ext cx="749935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273" name="Текст 8"/>
          <p:cNvSpPr>
            <a:spLocks noGrp="1"/>
          </p:cNvSpPr>
          <p:nvPr>
            <p:ph type="body" idx="1"/>
          </p:nvPr>
        </p:nvSpPr>
        <p:spPr bwMode="auto">
          <a:xfrm>
            <a:off x="1435101" y="1447800"/>
            <a:ext cx="749935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49"/>
            <a:ext cx="2133600" cy="476251"/>
          </a:xfrm>
          <a:prstGeom prst="rect">
            <a:avLst/>
          </a:prstGeom>
        </p:spPr>
        <p:txBody>
          <a:bodyPr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F2FA9067-DE46-4BDC-8840-ABEF20E1C291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49"/>
            <a:ext cx="2895600" cy="476251"/>
          </a:xfrm>
          <a:prstGeom prst="rect">
            <a:avLst/>
          </a:prstGeom>
        </p:spPr>
        <p:txBody>
          <a:bodyPr anchor="b"/>
          <a:lstStyle>
            <a:lvl1pPr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775" y="6305549"/>
            <a:ext cx="457200" cy="47625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B5A788"/>
                </a:solidFill>
                <a:latin typeface="Corbel" panose="020B0503020204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440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754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6" r:id="rId1"/>
    <p:sldLayoutId id="2147484637" r:id="rId2"/>
    <p:sldLayoutId id="2147484638" r:id="rId3"/>
    <p:sldLayoutId id="2147484639" r:id="rId4"/>
    <p:sldLayoutId id="2147484640" r:id="rId5"/>
    <p:sldLayoutId id="2147484641" r:id="rId6"/>
    <p:sldLayoutId id="2147484642" r:id="rId7"/>
    <p:sldLayoutId id="2147484643" r:id="rId8"/>
    <p:sldLayoutId id="2147484644" r:id="rId9"/>
    <p:sldLayoutId id="2147484645" r:id="rId10"/>
    <p:sldLayoutId id="2147484646" r:id="rId11"/>
    <p:sldLayoutId id="2147484647" r:id="rId12"/>
    <p:sldLayoutId id="2147484648" r:id="rId13"/>
    <p:sldLayoutId id="2147484649" r:id="rId14"/>
    <p:sldLayoutId id="2147484650" r:id="rId15"/>
    <p:sldLayoutId id="2147484651" r:id="rId16"/>
    <p:sldLayoutId id="2147484652" r:id="rId1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300" kern="1200">
          <a:solidFill>
            <a:srgbClr val="572314"/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9pPr>
      <a:extLst/>
    </p:titleStyle>
    <p:bodyStyle>
      <a:lvl1pPr marL="365125" indent="-282575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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36538" algn="l" rtl="0" eaLnBrk="1" fontAlgn="base" hangingPunct="1">
        <a:spcBef>
          <a:spcPts val="550"/>
        </a:spcBef>
        <a:spcAft>
          <a:spcPct val="0"/>
        </a:spcAft>
        <a:buClr>
          <a:schemeClr val="accent1"/>
        </a:buClr>
        <a:buFont typeface="Verdana" panose="020B0604030504040204" pitchFamily="34" charset="0"/>
        <a:buChar char="◦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5825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 2" panose="05020102010507070707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173038" algn="l" rtl="0" eaLnBrk="1" fontAlgn="base" hangingPunct="1">
        <a:spcBef>
          <a:spcPct val="20000"/>
        </a:spcBef>
        <a:spcAft>
          <a:spcPct val="0"/>
        </a:spcAft>
        <a:buClr>
          <a:srgbClr val="C32D2E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6988" indent="-182563" algn="l" rtl="0" eaLnBrk="1" fontAlgn="base" hangingPunct="1">
        <a:spcBef>
          <a:spcPct val="20000"/>
        </a:spcBef>
        <a:spcAft>
          <a:spcPct val="0"/>
        </a:spcAft>
        <a:buClr>
          <a:srgbClr val="84AA33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75" y="-815974"/>
            <a:ext cx="1638300" cy="1638300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68275" y="20641"/>
            <a:ext cx="1703388" cy="1703387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Кольцо 10"/>
          <p:cNvSpPr/>
          <p:nvPr/>
        </p:nvSpPr>
        <p:spPr>
          <a:xfrm rot="2315675">
            <a:off x="182883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12827" y="0"/>
            <a:ext cx="813117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101" y="274637"/>
            <a:ext cx="749935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273" name="Текст 8"/>
          <p:cNvSpPr>
            <a:spLocks noGrp="1"/>
          </p:cNvSpPr>
          <p:nvPr>
            <p:ph type="body" idx="1"/>
          </p:nvPr>
        </p:nvSpPr>
        <p:spPr bwMode="auto">
          <a:xfrm>
            <a:off x="1435101" y="1447800"/>
            <a:ext cx="7499350" cy="48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49"/>
            <a:ext cx="2133600" cy="476251"/>
          </a:xfrm>
          <a:prstGeom prst="rect">
            <a:avLst/>
          </a:prstGeom>
        </p:spPr>
        <p:txBody>
          <a:bodyPr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fld id="{F2FA9067-DE46-4BDC-8840-ABEF20E1C291}" type="datetimeFigureOut">
              <a:rPr lang="ru-RU">
                <a:solidFill>
                  <a:srgbClr val="E7DEC9">
                    <a:shade val="50000"/>
                    <a:satMod val="200000"/>
                  </a:srgbClr>
                </a:solidFill>
              </a:rPr>
              <a:pPr>
                <a:defRPr/>
              </a:pPr>
              <a:t>16.03.2020</a:t>
            </a:fld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49"/>
            <a:ext cx="2895600" cy="476251"/>
          </a:xfrm>
          <a:prstGeom prst="rect">
            <a:avLst/>
          </a:prstGeom>
        </p:spPr>
        <p:txBody>
          <a:bodyPr anchor="b"/>
          <a:lstStyle>
            <a:lvl1pPr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  <a:latin typeface="+mn-lt"/>
                <a:cs typeface="+mn-cs"/>
              </a:defRPr>
            </a:lvl1pPr>
            <a:extLst/>
          </a:lstStyle>
          <a:p>
            <a:pPr>
              <a:defRPr/>
            </a:pPr>
            <a:endParaRPr lang="ru-RU">
              <a:solidFill>
                <a:srgbClr val="E7DEC9">
                  <a:shade val="50000"/>
                  <a:satMod val="200000"/>
                </a:srgbClr>
              </a:solidFill>
            </a:endParaRPr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775" y="6305549"/>
            <a:ext cx="457200" cy="47625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B5A788"/>
                </a:solidFill>
                <a:latin typeface="Corbel" panose="020B050302020402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2CD9D53-BCA7-4DCC-A28A-C9E376E14DB0}" type="slidenum">
              <a:rPr lang="ru-RU" altLang="ru-RU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440" y="0"/>
            <a:ext cx="73025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764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4" r:id="rId1"/>
    <p:sldLayoutId id="2147484655" r:id="rId2"/>
    <p:sldLayoutId id="2147484656" r:id="rId3"/>
    <p:sldLayoutId id="2147484657" r:id="rId4"/>
    <p:sldLayoutId id="2147484658" r:id="rId5"/>
    <p:sldLayoutId id="2147484659" r:id="rId6"/>
    <p:sldLayoutId id="2147484660" r:id="rId7"/>
    <p:sldLayoutId id="2147484661" r:id="rId8"/>
    <p:sldLayoutId id="2147484662" r:id="rId9"/>
    <p:sldLayoutId id="2147484663" r:id="rId10"/>
    <p:sldLayoutId id="2147484664" r:id="rId11"/>
    <p:sldLayoutId id="2147484665" r:id="rId12"/>
    <p:sldLayoutId id="2147484666" r:id="rId13"/>
    <p:sldLayoutId id="2147484667" r:id="rId14"/>
    <p:sldLayoutId id="2147484668" r:id="rId15"/>
    <p:sldLayoutId id="2147484669" r:id="rId16"/>
    <p:sldLayoutId id="2147484670" r:id="rId1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4300" kern="1200">
          <a:solidFill>
            <a:srgbClr val="572314"/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300">
          <a:solidFill>
            <a:srgbClr val="572314"/>
          </a:solidFill>
          <a:latin typeface="Corbel" pitchFamily="34" charset="0"/>
        </a:defRPr>
      </a:lvl9pPr>
      <a:extLst/>
    </p:titleStyle>
    <p:bodyStyle>
      <a:lvl1pPr marL="365125" indent="-282575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SzPct val="80000"/>
        <a:buFont typeface="Wingdings 2" panose="05020102010507070707" pitchFamily="18" charset="2"/>
        <a:buChar char="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39763" indent="-236538" algn="l" rtl="0" eaLnBrk="1" fontAlgn="base" hangingPunct="1">
        <a:spcBef>
          <a:spcPts val="550"/>
        </a:spcBef>
        <a:spcAft>
          <a:spcPct val="0"/>
        </a:spcAft>
        <a:buClr>
          <a:schemeClr val="accent1"/>
        </a:buClr>
        <a:buFont typeface="Verdana" panose="020B0604030504040204" pitchFamily="34" charset="0"/>
        <a:buChar char="◦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5825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 2" panose="05020102010507070707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6963" indent="-173038" algn="l" rtl="0" eaLnBrk="1" fontAlgn="base" hangingPunct="1">
        <a:spcBef>
          <a:spcPct val="20000"/>
        </a:spcBef>
        <a:spcAft>
          <a:spcPct val="0"/>
        </a:spcAft>
        <a:buClr>
          <a:srgbClr val="C32D2E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6988" indent="-182563" algn="l" rtl="0" eaLnBrk="1" fontAlgn="base" hangingPunct="1">
        <a:spcBef>
          <a:spcPct val="20000"/>
        </a:spcBef>
        <a:spcAft>
          <a:spcPct val="0"/>
        </a:spcAft>
        <a:buClr>
          <a:srgbClr val="84AA33"/>
        </a:buClr>
        <a:buFont typeface="Wingdings 2" panose="05020102010507070707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8C80AF-3E80-4DC2-8076-EE420A03A2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8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8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04F2DE-6027-4719-BF21-EA669BE92D7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998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4" r:id="rId1"/>
    <p:sldLayoutId id="2147484785" r:id="rId2"/>
    <p:sldLayoutId id="2147484786" r:id="rId3"/>
    <p:sldLayoutId id="2147484787" r:id="rId4"/>
    <p:sldLayoutId id="2147484788" r:id="rId5"/>
    <p:sldLayoutId id="2147484789" r:id="rId6"/>
    <p:sldLayoutId id="2147484790" r:id="rId7"/>
    <p:sldLayoutId id="2147484791" r:id="rId8"/>
    <p:sldLayoutId id="2147484792" r:id="rId9"/>
    <p:sldLayoutId id="2147484793" r:id="rId10"/>
    <p:sldLayoutId id="2147484794" r:id="rId11"/>
    <p:sldLayoutId id="2147484795" r:id="rId12"/>
    <p:sldLayoutId id="2147484796" r:id="rId13"/>
    <p:sldLayoutId id="214748479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inasthma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inasthma.org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inasthma.org/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4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inasthma.org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7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0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9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30.jpe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1.xml"/><Relationship Id="rId6" Type="http://schemas.openxmlformats.org/officeDocument/2006/relationships/hyperlink" Target="http://www.google.com/url?url=http://www.fdoctor.ru/lists/faqtags/document22320.phtml&amp;rct=j&amp;frm=1&amp;q=&amp;esrc=s&amp;sa=U&amp;ei=i--OU662DOeK0AXL94CABw&amp;ved=0CD4Q9QEwDjg8&amp;usg=AFQjCNFOynr1sWEWtLoSGoSucaVWx9D3gA" TargetMode="External"/><Relationship Id="rId5" Type="http://schemas.openxmlformats.org/officeDocument/2006/relationships/image" Target="../media/image31.jpeg"/><Relationship Id="rId10" Type="http://schemas.openxmlformats.org/officeDocument/2006/relationships/image" Target="../media/image35.jpeg"/><Relationship Id="rId4" Type="http://schemas.openxmlformats.org/officeDocument/2006/relationships/hyperlink" Target="http://www.google.com/url?url=http://www.medweb.ru/articles/astma-kontrol-za-vydoxom-predotvratit-pristup&amp;rct=j&amp;frm=1&amp;q=&amp;esrc=s&amp;sa=U&amp;ei=8umOU-jdOMGr0QWfz4CwAQ&amp;ved=0CDIQ9QEwCA&amp;usg=AFQjCNGgxxOiSyC-4_yDaNp0lvOv76Flzg" TargetMode="External"/><Relationship Id="rId9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9.xml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7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7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7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inasthma.org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3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7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5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4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hyperlink" Target="http://www.ginasthma.org/" TargetMode="External"/><Relationship Id="rId1" Type="http://schemas.openxmlformats.org/officeDocument/2006/relationships/slideLayout" Target="../slideLayouts/slideLayout586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9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9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2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4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47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4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57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2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3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5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5.emf"/><Relationship Id="rId4" Type="http://schemas.openxmlformats.org/officeDocument/2006/relationships/package" Target="../embeddings/_________Microsoft_Word1.docx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39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9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3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63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6.png"/><Relationship Id="rId4" Type="http://schemas.openxmlformats.org/officeDocument/2006/relationships/oleObject" Target="../embeddings/_____Microsoft_Excel_97-20031.xls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3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3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3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21.png"/><Relationship Id="rId7" Type="http://schemas.openxmlformats.org/officeDocument/2006/relationships/hyperlink" Target="http://www.google.com/url?url=http://dailyhealthnet.com/causes-cold/&amp;rct=j&amp;frm=1&amp;q=&amp;esrc=s&amp;sa=U&amp;ei=-5_PU_KeBoLH0QXBgYHgAw&amp;ved=0CDQQ9QEwDzg8&amp;sig2=3VHpg9nGmleNaePau0dJew&amp;usg=AFQjCNHian1ezD8M9BCmvUQH_dNB_l-6xg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hyperlink" Target="http://www.google.com/url?url=http://scienceblogs.com/notrocketscience/2009/02/12/the-full-genome-of-the-common-cold-virus/&amp;rct=j&amp;frm=1&amp;q=&amp;esrc=s&amp;sa=U&amp;ei=Np_PU7CKNKSa0QXcvoHoCA&amp;ved=0CB4Q9QEwBA&amp;sig2=MApBzWfvzpX9dKUxtWFl3w&amp;usg=AFQjCNHyHlFfp1_-0Y4oYw81cC5wFagg-g" TargetMode="Externa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2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7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inasthma.org/" TargetMode="External"/><Relationship Id="rId1" Type="http://schemas.openxmlformats.org/officeDocument/2006/relationships/slideLayout" Target="../slideLayouts/slideLayout3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576" y="260648"/>
            <a:ext cx="7820052" cy="1686055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1F497D"/>
                </a:solidFill>
                <a:latin typeface="Monotype Corsiva" pitchFamily="66" charset="0"/>
              </a:rPr>
              <a:t>Новые  подходы к диагностике и  </a:t>
            </a:r>
            <a:r>
              <a:rPr lang="ru-RU" b="1" dirty="0">
                <a:solidFill>
                  <a:srgbClr val="1F497D"/>
                </a:solidFill>
                <a:latin typeface="Monotype Corsiva" pitchFamily="66" charset="0"/>
              </a:rPr>
              <a:t>лечению бронхиальной астмы у детей</a:t>
            </a:r>
            <a:br>
              <a:rPr lang="ru-RU" b="1" dirty="0">
                <a:solidFill>
                  <a:srgbClr val="1F497D"/>
                </a:solidFill>
                <a:latin typeface="Monotype Corsiva" pitchFamily="66" charset="0"/>
              </a:rPr>
            </a:br>
            <a:endParaRPr lang="ru-RU" sz="40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8196" name="Picture 6" descr="оргм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3048" y="2060848"/>
            <a:ext cx="4857784" cy="4264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117194" y="2060848"/>
            <a:ext cx="4025252" cy="341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2200" b="1" i="1" dirty="0" smtClean="0">
                <a:solidFill>
                  <a:prstClr val="black"/>
                </a:solidFill>
                <a:cs typeface="Arial" pitchFamily="34" charset="0"/>
              </a:rPr>
              <a:t>Заслуженный </a:t>
            </a:r>
            <a:r>
              <a:rPr lang="ru-RU" sz="2200" b="1" i="1" dirty="0">
                <a:solidFill>
                  <a:prstClr val="black"/>
                </a:solidFill>
                <a:cs typeface="Arial" pitchFamily="34" charset="0"/>
              </a:rPr>
              <a:t>врач РФ,</a:t>
            </a:r>
            <a:br>
              <a:rPr lang="ru-RU" sz="2200" b="1" i="1" dirty="0">
                <a:solidFill>
                  <a:prstClr val="black"/>
                </a:solidFill>
                <a:cs typeface="Arial" pitchFamily="34" charset="0"/>
              </a:rPr>
            </a:br>
            <a:r>
              <a:rPr lang="ru-RU" sz="2200" b="1" i="1" dirty="0">
                <a:solidFill>
                  <a:prstClr val="black"/>
                </a:solidFill>
                <a:cs typeface="Arial" pitchFamily="34" charset="0"/>
              </a:rPr>
              <a:t>зав. кафедрой госпитальной педиатрии ОрГМУ,</a:t>
            </a:r>
            <a:br>
              <a:rPr lang="ru-RU" sz="2200" b="1" i="1" dirty="0">
                <a:solidFill>
                  <a:prstClr val="black"/>
                </a:solidFill>
                <a:cs typeface="Arial" pitchFamily="34" charset="0"/>
              </a:rPr>
            </a:br>
            <a:r>
              <a:rPr lang="ru-RU" sz="2200" b="1" i="1" dirty="0">
                <a:solidFill>
                  <a:prstClr val="black"/>
                </a:solidFill>
                <a:cs typeface="Arial" pitchFamily="34" charset="0"/>
              </a:rPr>
              <a:t>профессор </a:t>
            </a:r>
            <a:br>
              <a:rPr lang="ru-RU" sz="2200" b="1" i="1" dirty="0">
                <a:solidFill>
                  <a:prstClr val="black"/>
                </a:solidFill>
                <a:cs typeface="Arial" pitchFamily="34" charset="0"/>
              </a:rPr>
            </a:br>
            <a:r>
              <a:rPr lang="ru-RU" sz="2200" b="1" i="1" dirty="0">
                <a:solidFill>
                  <a:prstClr val="black"/>
                </a:solidFill>
                <a:cs typeface="Arial" pitchFamily="34" charset="0"/>
              </a:rPr>
              <a:t>М.А. </a:t>
            </a:r>
            <a:r>
              <a:rPr lang="ru-RU" sz="2200" b="1" i="1" dirty="0" smtClean="0">
                <a:solidFill>
                  <a:prstClr val="black"/>
                </a:solidFill>
                <a:cs typeface="Arial" pitchFamily="34" charset="0"/>
              </a:rPr>
              <a:t>Скачкова</a:t>
            </a:r>
          </a:p>
          <a:p>
            <a:pPr algn="ctr">
              <a:spcBef>
                <a:spcPct val="20000"/>
              </a:spcBef>
            </a:pPr>
            <a:endParaRPr lang="ru-RU" sz="2200" b="1" i="1" dirty="0" smtClean="0">
              <a:solidFill>
                <a:prstClr val="black"/>
              </a:solidFill>
              <a:cs typeface="Arial" pitchFamily="34" charset="0"/>
            </a:endParaRPr>
          </a:p>
          <a:p>
            <a:pPr algn="ctr">
              <a:spcBef>
                <a:spcPct val="20000"/>
              </a:spcBef>
            </a:pPr>
            <a:endParaRPr lang="ru-RU" sz="2200" b="1" i="1" dirty="0" smtClean="0">
              <a:solidFill>
                <a:prstClr val="black"/>
              </a:solidFill>
              <a:cs typeface="Arial" pitchFamily="34" charset="0"/>
            </a:endParaRPr>
          </a:p>
          <a:p>
            <a:pPr algn="ctr">
              <a:spcBef>
                <a:spcPct val="20000"/>
              </a:spcBef>
            </a:pPr>
            <a:r>
              <a:rPr lang="ru-RU" sz="2200" b="1" i="1" dirty="0" smtClean="0">
                <a:solidFill>
                  <a:prstClr val="black"/>
                </a:solidFill>
                <a:cs typeface="Arial" pitchFamily="34" charset="0"/>
              </a:rPr>
              <a:t>Март 2020</a:t>
            </a:r>
          </a:p>
          <a:p>
            <a:pPr algn="ctr">
              <a:spcBef>
                <a:spcPct val="20000"/>
              </a:spcBef>
            </a:pPr>
            <a:endParaRPr lang="ru-RU" sz="2200" b="1" i="1" dirty="0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240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4066" name="Picture 4" descr="m_ch_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52" y="2"/>
            <a:ext cx="3203575" cy="198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406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7505" y="188640"/>
            <a:ext cx="5832935" cy="1143000"/>
          </a:xfrm>
        </p:spPr>
        <p:txBody>
          <a:bodyPr/>
          <a:lstStyle/>
          <a:p>
            <a:pPr eaLnBrk="1" hangingPunct="1"/>
            <a:r>
              <a:rPr lang="ru-RU" sz="3200" b="1" dirty="0" smtClean="0"/>
              <a:t>Диагностика </a:t>
            </a:r>
            <a:br>
              <a:rPr lang="ru-RU" sz="3200" b="1" dirty="0" smtClean="0"/>
            </a:br>
            <a:r>
              <a:rPr lang="ru-RU" sz="3200" b="1" dirty="0" smtClean="0"/>
              <a:t>в разные возрастные периоды</a:t>
            </a:r>
          </a:p>
        </p:txBody>
      </p:sp>
      <p:sp>
        <p:nvSpPr>
          <p:cNvPr id="34406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07504" y="1556792"/>
            <a:ext cx="8856984" cy="3341688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ru-RU" sz="2400" b="1" dirty="0" smtClean="0"/>
              <a:t>Дети первых двух лет жизни</a:t>
            </a:r>
          </a:p>
          <a:p>
            <a:pPr eaLnBrk="1" hangingPunct="1">
              <a:lnSpc>
                <a:spcPct val="80000"/>
              </a:lnSpc>
            </a:pPr>
            <a:r>
              <a:rPr lang="ru-RU" sz="2000" b="1" dirty="0" smtClean="0"/>
              <a:t>наследственная отягощенность аллергическими </a:t>
            </a:r>
          </a:p>
          <a:p>
            <a:pPr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sz="2000" b="1" dirty="0" smtClean="0"/>
              <a:t>      заболеваниями (особенно по материнской линии);</a:t>
            </a:r>
          </a:p>
          <a:p>
            <a:pPr eaLnBrk="1" hangingPunct="1">
              <a:lnSpc>
                <a:spcPct val="80000"/>
              </a:lnSpc>
            </a:pPr>
            <a:r>
              <a:rPr lang="ru-RU" sz="2000" b="1" dirty="0" smtClean="0"/>
              <a:t>высокая частота аллергических реакций на пищевые продукты, медикаменты,  выраженные кожные аллергические проявления,</a:t>
            </a:r>
          </a:p>
          <a:p>
            <a:pPr eaLnBrk="1" hangingPunct="1">
              <a:lnSpc>
                <a:spcPct val="80000"/>
              </a:lnSpc>
            </a:pPr>
            <a:r>
              <a:rPr lang="ru-RU" sz="2000" b="1" dirty="0" smtClean="0"/>
              <a:t>бурное течение </a:t>
            </a:r>
            <a:r>
              <a:rPr lang="ru-RU" sz="2000" b="1" dirty="0" err="1" smtClean="0"/>
              <a:t>бронхообструктивного</a:t>
            </a:r>
            <a:r>
              <a:rPr lang="ru-RU" sz="2000" b="1" dirty="0" smtClean="0"/>
              <a:t> синдрома с ранним началом во время ОРВИ, </a:t>
            </a:r>
          </a:p>
          <a:p>
            <a:pPr eaLnBrk="1" hangingPunct="1">
              <a:lnSpc>
                <a:spcPct val="80000"/>
              </a:lnSpc>
            </a:pPr>
            <a:r>
              <a:rPr lang="ru-RU" sz="2000" b="1" dirty="0" smtClean="0"/>
              <a:t>отчетливый эффект </a:t>
            </a:r>
            <a:r>
              <a:rPr lang="ru-RU" sz="2000" b="1" dirty="0" err="1" smtClean="0"/>
              <a:t>бронхолитической</a:t>
            </a:r>
            <a:r>
              <a:rPr lang="ru-RU" sz="2000" b="1" dirty="0" smtClean="0"/>
              <a:t> терапии.</a:t>
            </a:r>
          </a:p>
          <a:p>
            <a:pPr eaLnBrk="1" hangingPunct="1">
              <a:lnSpc>
                <a:spcPct val="80000"/>
              </a:lnSpc>
            </a:pPr>
            <a:r>
              <a:rPr lang="ru-RU" sz="2000" b="1" dirty="0" smtClean="0"/>
              <a:t>Практически ни один из этих показателей в отдельности (в том числе уровень </a:t>
            </a:r>
            <a:r>
              <a:rPr lang="ru-RU" sz="2000" b="1" dirty="0" err="1" smtClean="0"/>
              <a:t>IgE</a:t>
            </a:r>
            <a:r>
              <a:rPr lang="ru-RU" sz="2000" b="1" dirty="0" smtClean="0"/>
              <a:t>) не может служить достоверным дифференциально-диагностическим критерием </a:t>
            </a:r>
            <a:r>
              <a:rPr lang="ru-RU" sz="2000" b="1" dirty="0" err="1" smtClean="0"/>
              <a:t>обструктивного</a:t>
            </a:r>
            <a:r>
              <a:rPr lang="ru-RU" sz="2000" b="1" dirty="0" smtClean="0"/>
              <a:t> бронхита и бронхиальной астмы.</a:t>
            </a:r>
          </a:p>
        </p:txBody>
      </p:sp>
      <p:sp>
        <p:nvSpPr>
          <p:cNvPr id="14342" name="Line 6"/>
          <p:cNvSpPr>
            <a:spLocks noChangeShapeType="1"/>
          </p:cNvSpPr>
          <p:nvPr/>
        </p:nvSpPr>
        <p:spPr bwMode="auto">
          <a:xfrm>
            <a:off x="468315" y="1989139"/>
            <a:ext cx="8135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87047" name="Group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6636839"/>
              </p:ext>
            </p:extLst>
          </p:nvPr>
        </p:nvGraphicFramePr>
        <p:xfrm>
          <a:off x="149184" y="4941169"/>
          <a:ext cx="8887313" cy="1706860"/>
        </p:xfrm>
        <a:graphic>
          <a:graphicData uri="http://schemas.openxmlformats.org/drawingml/2006/table">
            <a:tbl>
              <a:tblPr/>
              <a:tblGrid>
                <a:gridCol w="888731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53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ети 2-5 лет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021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лючевой критерий  диагностики БА является </a:t>
                      </a:r>
                      <a:r>
                        <a:rPr kumimoji="1" lang="ru-RU" sz="1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систирование</a:t>
                      </a:r>
                      <a:r>
                        <a:rPr kumimoji="1" 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на протяжении последнего года. Наиболее частые </a:t>
                      </a:r>
                      <a:r>
                        <a:rPr kumimoji="1" lang="ru-RU" sz="1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ригеры</a:t>
                      </a:r>
                      <a:r>
                        <a:rPr kumimoji="1" 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– </a:t>
                      </a:r>
                      <a:r>
                        <a:rPr kumimoji="1" lang="ru-RU" sz="1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ирусыБА</a:t>
                      </a:r>
                      <a:r>
                        <a:rPr kumimoji="1" 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, провоцируемая физической нагрузкой, также может быть уникальным фенотипом в  этой возрастной группе.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915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066" name="Group 2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56392845"/>
              </p:ext>
            </p:extLst>
          </p:nvPr>
        </p:nvGraphicFramePr>
        <p:xfrm>
          <a:off x="467544" y="764704"/>
          <a:ext cx="7931150" cy="5794835"/>
        </p:xfrm>
        <a:graphic>
          <a:graphicData uri="http://schemas.openxmlformats.org/drawingml/2006/table">
            <a:tbl>
              <a:tblPr/>
              <a:tblGrid>
                <a:gridCol w="79311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7353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Arial" charset="0"/>
                          <a:cs typeface="Times New Roman" charset="0"/>
                        </a:rPr>
                        <a:t>Дети 6 - 12 лет</a:t>
                      </a:r>
                      <a:endParaRPr kumimoji="1" 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charset="0"/>
                        <a:ea typeface="Arial" charset="0"/>
                        <a:cs typeface="Times New Roman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716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pitchFamily="34" charset="0"/>
                        </a:rPr>
                        <a:t>Провоцируемая вирусами астма  остается обычной формой заболевания. Обострения, вызванные аллергенами и сезонность можно выделить без особых затруднений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49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Arial" charset="0"/>
                          <a:cs typeface="Times New Roman" charset="0"/>
                        </a:rPr>
                        <a:t>Подростки старше 12 </a:t>
                      </a:r>
                      <a:r>
                        <a:rPr kumimoji="1" lang="ru-RU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charset="0"/>
                          <a:ea typeface="Arial" charset="0"/>
                          <a:cs typeface="Times New Roman" charset="0"/>
                        </a:rPr>
                        <a:t>л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ru-RU" sz="2400" b="1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charset="0"/>
                        <a:ea typeface="Arial" charset="0"/>
                        <a:cs typeface="Times New Roman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pitchFamily="34" charset="0"/>
                        </a:rPr>
                        <a:t>Астма может впервые проявляться в подростковом возрасте, должен настораживать </a:t>
                      </a:r>
                      <a:r>
                        <a:rPr kumimoji="1" lang="ru-RU" sz="2000" b="1" kern="1200" dirty="0" err="1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pitchFamily="34" charset="0"/>
                        </a:rPr>
                        <a:t>бронхоспазм</a:t>
                      </a:r>
                      <a:r>
                        <a:rPr kumimoji="1"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pitchFamily="34" charset="0"/>
                        </a:rPr>
                        <a:t> на нагрузку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sz="2000" b="1" kern="1200" dirty="0">
                          <a:solidFill>
                            <a:schemeClr val="tx1"/>
                          </a:solidFill>
                          <a:latin typeface="+mn-lt"/>
                          <a:ea typeface="Arial" charset="0"/>
                          <a:cs typeface="Arial" pitchFamily="34" charset="0"/>
                        </a:rPr>
                        <a:t>У пациентов этой возрастной группы могут возникать дополнительные проблемы при выборе тактики ведения,  отказ от    регулярного приема лекарства, от каких-либо ограничений в поведении. Нередко курят. Страх удушья формирует тревожность, чувство отверженности, подкрепляемые переживаниями своего отличия от сверстников.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971600" y="44624"/>
            <a:ext cx="7380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800" b="1" dirty="0"/>
              <a:t>Диагностика </a:t>
            </a:r>
            <a:r>
              <a:rPr lang="ru-RU" sz="2800" b="1" dirty="0" smtClean="0"/>
              <a:t> в </a:t>
            </a:r>
            <a:r>
              <a:rPr lang="ru-RU" sz="2800" b="1" dirty="0"/>
              <a:t>разные возрастные периоды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72279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332656"/>
            <a:ext cx="6172200" cy="540060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</a:rPr>
              <a:t>Диагностические критерии БА у</a:t>
            </a:r>
            <a:br>
              <a:rPr lang="ru-RU" sz="2800" b="1" dirty="0">
                <a:solidFill>
                  <a:srgbClr val="002060"/>
                </a:solidFill>
              </a:rPr>
            </a:br>
            <a:r>
              <a:rPr lang="ru-RU" sz="2800" b="1" dirty="0">
                <a:solidFill>
                  <a:srgbClr val="002060"/>
                </a:solidFill>
              </a:rPr>
              <a:t> взрослых, подростков и детей 6-11 лет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2844453"/>
              </p:ext>
            </p:extLst>
          </p:nvPr>
        </p:nvGraphicFramePr>
        <p:xfrm>
          <a:off x="179512" y="1196753"/>
          <a:ext cx="8712968" cy="56598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042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0087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8796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Диагностические признаки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C00000"/>
                          </a:solidFill>
                        </a:rPr>
                        <a:t>Критерии,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</a:rPr>
                        <a:t> для установления диагноза БА</a:t>
                      </a:r>
                      <a:endParaRPr lang="ru-RU" sz="1600" b="1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496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. Наличие вариабельных респираторных симптомов в анамнезе</a:t>
                      </a:r>
                      <a:endParaRPr lang="ru-RU" sz="16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5510"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Свистящие хрипы, одышка,  чувство заложенности в груди и кашель. Описание признаков может</a:t>
                      </a:r>
                      <a:r>
                        <a:rPr lang="ru-RU" sz="1600" b="1" baseline="0" dirty="0" smtClean="0"/>
                        <a:t> изменяться в зависимости от цивилизационных  особенностей и от возраста, например, симптом у детей может быть описан, как затрудненное дыхание</a:t>
                      </a:r>
                      <a:endParaRPr lang="ru-RU" sz="1600" b="1" dirty="0" smtClean="0"/>
                    </a:p>
                    <a:p>
                      <a:endParaRPr lang="ru-RU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Как правило, более одного типа респираторных симптомов (у взрослых изолированный кашель редко связан с БА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dirty="0" smtClean="0"/>
                        <a:t>Симптомы вариабельны по времени</a:t>
                      </a:r>
                      <a:r>
                        <a:rPr lang="ru-RU" sz="1600" b="1" baseline="0" dirty="0" smtClean="0"/>
                        <a:t> и интенсивност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baseline="0" dirty="0" smtClean="0"/>
                        <a:t>Часто симптомы ухудшаются ночью или после пробуждения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baseline="0" dirty="0" smtClean="0"/>
                        <a:t>Часто симптомы провоцируются физическими упражнениями, смехом, аллергенами, холодным воздухом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600" b="1" baseline="0" dirty="0" smtClean="0"/>
                        <a:t>Часто симптомы появляются или ухудшаются на фоне вирусных инфекций</a:t>
                      </a:r>
                      <a:endParaRPr lang="ru-RU" sz="16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37066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. Подтвержденное вариабельное ограничение</a:t>
                      </a:r>
                      <a:r>
                        <a:rPr lang="ru-RU" sz="1600" b="1" baseline="0" dirty="0" smtClean="0"/>
                        <a:t> скорости воздушного потока на выдохе</a:t>
                      </a:r>
                      <a:endParaRPr lang="ru-RU" sz="16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34394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Зарегистрированная повышенная вариабельность показателей функции внешнего дыхания* (по данным одного или</a:t>
                      </a:r>
                      <a:r>
                        <a:rPr lang="ru-RU" sz="1200" b="1" baseline="0" dirty="0" smtClean="0"/>
                        <a:t> нескольких приведенных ниже тестов)</a:t>
                      </a:r>
                    </a:p>
                    <a:p>
                      <a:r>
                        <a:rPr lang="ru-RU" sz="1200" b="1" baseline="0" dirty="0" smtClean="0"/>
                        <a:t>И зарегистрированное ограничение скорости воздушного потока*</a:t>
                      </a:r>
                      <a:endParaRPr lang="ru-RU" sz="12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Чем больше вариабельность или чем чаще она выявляется, тем больше уверенность в диагнозе.</a:t>
                      </a:r>
                    </a:p>
                    <a:p>
                      <a:r>
                        <a:rPr lang="ru-RU" sz="1200" b="1" dirty="0" smtClean="0"/>
                        <a:t>По крайней мере один раз в процессе диагностики при низком ОФВ1,</a:t>
                      </a:r>
                      <a:r>
                        <a:rPr lang="ru-RU" sz="1200" b="1" baseline="0" dirty="0" smtClean="0"/>
                        <a:t> необходимо подтвердить , что отношение ОФВ1/ФЖЕЛ снижено (в норме составляет </a:t>
                      </a:r>
                      <a:r>
                        <a:rPr lang="en-US" sz="1200" b="1" baseline="0" dirty="0" smtClean="0"/>
                        <a:t>&gt; 0</a:t>
                      </a:r>
                      <a:r>
                        <a:rPr lang="ru-RU" sz="1200" b="1" baseline="0" dirty="0" smtClean="0"/>
                        <a:t>,75 – 0,80  у взрослых,  </a:t>
                      </a:r>
                      <a:r>
                        <a:rPr lang="en-US" sz="1200" b="1" baseline="0" dirty="0" smtClean="0"/>
                        <a:t>&gt;0,90 </a:t>
                      </a:r>
                      <a:r>
                        <a:rPr lang="ru-RU" sz="1200" b="1" baseline="0" dirty="0" smtClean="0"/>
                        <a:t>у детей)</a:t>
                      </a:r>
                      <a:endParaRPr lang="ru-RU" sz="12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860032" y="6599468"/>
            <a:ext cx="297033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GINA 201</a:t>
            </a:r>
            <a:r>
              <a:rPr lang="ru-RU" sz="1050" dirty="0"/>
              <a:t>8</a:t>
            </a:r>
            <a:r>
              <a:rPr lang="en-US" sz="1050" dirty="0"/>
              <a:t>. </a:t>
            </a:r>
            <a:r>
              <a:rPr lang="ru-RU" sz="1050" dirty="0"/>
              <a:t>Данные с сайта </a:t>
            </a:r>
            <a:r>
              <a:rPr lang="en-US" sz="1050" dirty="0"/>
              <a:t>http://ginasthma.org</a:t>
            </a:r>
            <a:endParaRPr lang="ru-RU" sz="1050" dirty="0"/>
          </a:p>
        </p:txBody>
      </p:sp>
      <p:sp>
        <p:nvSpPr>
          <p:cNvPr id="7" name="TextBox 6"/>
          <p:cNvSpPr txBox="1"/>
          <p:nvPr/>
        </p:nvSpPr>
        <p:spPr>
          <a:xfrm>
            <a:off x="3208252" y="6457122"/>
            <a:ext cx="59357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i="1" dirty="0"/>
              <a:t>*</a:t>
            </a:r>
            <a:r>
              <a:rPr lang="ru-RU" sz="1050" i="1" dirty="0"/>
              <a:t> Эти тесты могут быть проведены повторно во время проявления симптомов или рано утром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41423" y="5526285"/>
            <a:ext cx="8064895" cy="90794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sz="2100" b="1" u="sng" dirty="0">
                <a:solidFill>
                  <a:schemeClr val="bg1"/>
                </a:solidFill>
              </a:rPr>
              <a:t>GINA </a:t>
            </a:r>
            <a:r>
              <a:rPr lang="ru-RU" sz="2100" b="1" u="sng" dirty="0">
                <a:solidFill>
                  <a:schemeClr val="bg1"/>
                </a:solidFill>
              </a:rPr>
              <a:t>2017: </a:t>
            </a:r>
            <a:r>
              <a:rPr lang="ru-RU" sz="1600" b="1" dirty="0">
                <a:solidFill>
                  <a:schemeClr val="bg1"/>
                </a:solidFill>
              </a:rPr>
              <a:t>после постановки диагноза повторную спирометрию следует проводить раз в 1-2 года, а у пациентов с высоким риском обострений или падением ОФВ</a:t>
            </a:r>
            <a:r>
              <a:rPr lang="ru-RU" sz="1600" b="1" baseline="-25000" dirty="0">
                <a:solidFill>
                  <a:schemeClr val="bg1"/>
                </a:solidFill>
              </a:rPr>
              <a:t>1</a:t>
            </a:r>
            <a:r>
              <a:rPr lang="ru-RU" sz="1600" b="1" dirty="0">
                <a:solidFill>
                  <a:schemeClr val="bg1"/>
                </a:solidFill>
              </a:rPr>
              <a:t> более чем на 15-20 мл в год чаще 1 раза в год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16632"/>
            <a:ext cx="1080120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1187624" y="6607163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b="1" dirty="0"/>
              <a:t>GINA 201</a:t>
            </a:r>
            <a:r>
              <a:rPr lang="ru-RU" sz="1000" b="1" dirty="0"/>
              <a:t>8</a:t>
            </a:r>
            <a:r>
              <a:rPr lang="en-US" sz="1000" b="1" dirty="0"/>
              <a:t>. </a:t>
            </a:r>
            <a:r>
              <a:rPr lang="ru-RU" sz="1000" b="1" dirty="0"/>
              <a:t>Данные с сайта </a:t>
            </a:r>
            <a:r>
              <a:rPr lang="en-US" sz="1000" b="1" dirty="0"/>
              <a:t>http://ginasthma.org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149360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67544" y="31175"/>
            <a:ext cx="8229600" cy="360040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ификация тяжести БА у детей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0213259"/>
              </p:ext>
            </p:extLst>
          </p:nvPr>
        </p:nvGraphicFramePr>
        <p:xfrm>
          <a:off x="107504" y="476672"/>
          <a:ext cx="8929053" cy="61941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1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483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496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0834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5787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9572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0889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6994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11878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723502">
                  <a:extLst>
                    <a:ext uri="{9D8B030D-6E8A-4147-A177-3AD203B41FA5}">
                      <a16:colId xmlns="" xmlns:a16="http://schemas.microsoft.com/office/drawing/2014/main" val="3080681746"/>
                    </a:ext>
                  </a:extLst>
                </a:gridCol>
              </a:tblGrid>
              <a:tr h="347193">
                <a:tc rowSpan="2">
                  <a:txBody>
                    <a:bodyPr/>
                    <a:lstStyle/>
                    <a:p>
                      <a:r>
                        <a:rPr lang="ru-RU" sz="1500" dirty="0" smtClean="0"/>
                        <a:t>Компоненты тяжести БА</a:t>
                      </a:r>
                      <a:endParaRPr lang="ru-RU" sz="1500" dirty="0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r>
                        <a:rPr lang="ru-RU" sz="1500" dirty="0" err="1" smtClean="0"/>
                        <a:t>Интермиттирующее</a:t>
                      </a:r>
                      <a:endParaRPr lang="ru-RU" sz="1500" dirty="0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/>
                      <a:r>
                        <a:rPr lang="ru-RU" sz="1500" dirty="0" err="1" smtClean="0"/>
                        <a:t>Персистирующее</a:t>
                      </a:r>
                      <a:r>
                        <a:rPr lang="ru-RU" sz="1500" dirty="0" smtClean="0"/>
                        <a:t> течение</a:t>
                      </a:r>
                      <a:endParaRPr lang="ru-RU" sz="15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71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Легкая</a:t>
                      </a:r>
                      <a:endParaRPr lang="ru-RU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Средней</a:t>
                      </a:r>
                      <a:r>
                        <a:rPr lang="ru-RU" sz="1600" b="1" baseline="0" dirty="0" smtClean="0"/>
                        <a:t> </a:t>
                      </a:r>
                      <a:r>
                        <a:rPr lang="ru-RU" sz="1600" b="1" dirty="0" smtClean="0"/>
                        <a:t>тяжести</a:t>
                      </a:r>
                      <a:endParaRPr lang="ru-RU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Тяжелая</a:t>
                      </a:r>
                      <a:endParaRPr lang="ru-RU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возраст</a:t>
                      </a:r>
                      <a:endParaRPr lang="ru-RU" sz="15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5</a:t>
                      </a: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ет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5</a:t>
                      </a:r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ет</a:t>
                      </a:r>
                      <a:endParaRPr lang="ru-RU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&l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&g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&l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&g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&l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600" b="1" dirty="0" smtClean="0"/>
                        <a:t>&gt;5</a:t>
                      </a:r>
                      <a:r>
                        <a:rPr lang="ru-RU" sz="1600" b="1" dirty="0" smtClean="0"/>
                        <a:t>лет</a:t>
                      </a:r>
                      <a:endParaRPr lang="ru-RU" sz="1600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симптомы</a:t>
                      </a:r>
                      <a:endParaRPr lang="ru-RU" sz="15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дней/неделю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b="1" dirty="0" smtClean="0">
                          <a:latin typeface="Arial" pitchFamily="34" charset="0"/>
                          <a:cs typeface="Arial" pitchFamily="34" charset="0"/>
                        </a:rPr>
                        <a:t>&gt;</a:t>
                      </a:r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2дней/неделю, но не каждый день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ежедневные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" pitchFamily="34" charset="0"/>
                          <a:cs typeface="Arial" pitchFamily="34" charset="0"/>
                        </a:rPr>
                        <a:t>В течение дня</a:t>
                      </a:r>
                      <a:endParaRPr lang="ru-RU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Ночные пробуждения</a:t>
                      </a:r>
                      <a:endParaRPr lang="ru-RU" sz="15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р в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с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-2р/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с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р в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с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-4р/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с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1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но не каждую ночь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1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Чаще 7раз в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Использование КД β</a:t>
                      </a:r>
                      <a:r>
                        <a:rPr lang="en-US" sz="1500" b="1" dirty="0" smtClean="0"/>
                        <a:t>2</a:t>
                      </a:r>
                      <a:r>
                        <a:rPr lang="ru-RU" sz="1500" b="1" dirty="0" smtClean="0"/>
                        <a:t> агонистов</a:t>
                      </a:r>
                      <a:endParaRPr lang="ru-RU" sz="15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дней/неделю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дней/неделю, но не каждый день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жедневные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сколько раз в день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500" b="1" baseline="0" dirty="0" smtClean="0"/>
                        <a:t>Повседневная активность</a:t>
                      </a:r>
                      <a:endParaRPr lang="ru-RU" sz="15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т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большое ограничение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меренное ограничение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раженное ограничение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034429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ФВД</a:t>
                      </a:r>
                    </a:p>
                    <a:p>
                      <a:r>
                        <a:rPr lang="ru-RU" sz="1200" b="1" dirty="0" smtClean="0"/>
                        <a:t>ОФВ1(исходно) или ПСВ (лучшая)</a:t>
                      </a:r>
                    </a:p>
                    <a:p>
                      <a:endParaRPr lang="ru-RU" sz="1200" b="1" dirty="0" smtClean="0"/>
                    </a:p>
                    <a:p>
                      <a:r>
                        <a:rPr lang="ru-RU" sz="1200" b="1" dirty="0" smtClean="0"/>
                        <a:t>ОФВ1/ЖЕЛ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 применимо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орм ОФВ1 между обострениями  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80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%</a:t>
                      </a:r>
                    </a:p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85%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 применимо</a:t>
                      </a:r>
                    </a:p>
                    <a:p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80%</a:t>
                      </a: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80%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 применимо</a:t>
                      </a:r>
                    </a:p>
                    <a:p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0-80%</a:t>
                      </a: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5-80%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 применимо</a:t>
                      </a:r>
                    </a:p>
                    <a:p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lt;60%</a:t>
                      </a: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endParaRPr lang="en-US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75%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91640">
                <a:tc>
                  <a:txBody>
                    <a:bodyPr/>
                    <a:lstStyle/>
                    <a:p>
                      <a:r>
                        <a:rPr lang="ru-RU" sz="1500" b="1" dirty="0" smtClean="0"/>
                        <a:t>Обострения</a:t>
                      </a:r>
                      <a:r>
                        <a:rPr lang="ru-RU" sz="1500" b="1" baseline="0" dirty="0" smtClean="0"/>
                        <a:t> БА, требующие применения сГКС (учитывая тяжесть и интервал после обострения)</a:t>
                      </a:r>
                      <a:endParaRPr lang="ru-RU" sz="1500" b="1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-1 раз в год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b="1" kern="120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обострений в год, требующих назначения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ГКС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ли 4 эпизода БОС/год продолжительностью  </a:t>
                      </a: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день и фактор риска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ерсистирования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астмы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&gt;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 обострений в год, требующих назначения </a:t>
                      </a:r>
                      <a:r>
                        <a:rPr lang="ru-RU" sz="1200" b="1" kern="1200" dirty="0" err="1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ГКС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ежегодный относительный риск может быть связан с ОФВ1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5" name="Rectangle 11"/>
          <p:cNvSpPr/>
          <p:nvPr/>
        </p:nvSpPr>
        <p:spPr>
          <a:xfrm>
            <a:off x="395536" y="6661184"/>
            <a:ext cx="910850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defRPr/>
            </a:pPr>
            <a:r>
              <a:rPr lang="ru-RU" sz="800" b="1" kern="0" dirty="0" smtClean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</a:t>
            </a:r>
            <a:r>
              <a:rPr lang="ru-RU" sz="8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грамма «Бронхиальная астма у детей. Стратегия лечения и профилактика». - 5-е изд., </a:t>
            </a:r>
            <a:r>
              <a:rPr lang="ru-RU" sz="800" b="1" kern="0" dirty="0" err="1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8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и доп</a:t>
            </a:r>
            <a:r>
              <a:rPr lang="ru-RU" sz="800" b="1" kern="0" dirty="0" smtClean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sz="800" b="1" kern="0" dirty="0" smtClean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800" b="1" kern="0" dirty="0" smtClean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lang="ru-RU" sz="8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сква : Оригинал-макет, </a:t>
            </a:r>
            <a:r>
              <a:rPr lang="ru-RU" sz="800" b="1" kern="0" dirty="0" smtClean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17;160с</a:t>
            </a:r>
            <a:r>
              <a:rPr lang="ru-RU" sz="8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3" name="Овал 2"/>
          <p:cNvSpPr/>
          <p:nvPr/>
        </p:nvSpPr>
        <p:spPr>
          <a:xfrm>
            <a:off x="7062026" y="1345376"/>
            <a:ext cx="1974491" cy="356315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7128792" y="4850975"/>
            <a:ext cx="1907704" cy="18002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26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8928" y="214020"/>
            <a:ext cx="8805561" cy="766719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Современные подходы к оценке тяжести течения астмы: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GINA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b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8928" y="836712"/>
            <a:ext cx="8585592" cy="1502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kern="0" dirty="0">
                <a:latin typeface="Arial" panose="020B0604020202020204" pitchFamily="34" charset="0"/>
                <a:cs typeface="Arial" panose="020B0604020202020204" pitchFamily="34" charset="0"/>
              </a:rPr>
              <a:t>Тяжесть астмы оценивается ретроспективно, по уровню терапии, требуемой для контроля симптомов и обострений</a:t>
            </a:r>
          </a:p>
          <a:p>
            <a:pPr>
              <a:spcBef>
                <a:spcPts val="1350"/>
              </a:spcBef>
            </a:pPr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Тяжесть астмы оценивается при нахождении пациента на регулярной противовоспалительной терапии в течение нескольких месяцев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5882586"/>
              </p:ext>
            </p:extLst>
          </p:nvPr>
        </p:nvGraphicFramePr>
        <p:xfrm>
          <a:off x="158928" y="2420891"/>
          <a:ext cx="8391246" cy="21320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94274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4850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09881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яжесть течения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стмы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81000" marB="81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упень терапии</a:t>
                      </a:r>
                    </a:p>
                  </a:txBody>
                  <a:tcPr marL="68580" marR="68580" marT="81000" marB="8100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56149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ёгкая</a:t>
                      </a:r>
                    </a:p>
                  </a:txBody>
                  <a:tcPr marL="68580" marR="68580" marT="81000" marB="81000"/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или 2 (КДБА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потребности или низкие дозы ИГКС, АЛП или </a:t>
                      </a:r>
                      <a:r>
                        <a:rPr lang="ru-RU" sz="1600" b="1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омоны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81000" marB="8100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09881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етяжёлая</a:t>
                      </a:r>
                    </a:p>
                  </a:txBody>
                  <a:tcPr marL="68580" marR="68580" marT="81000" marB="81000"/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например, низкие дозы ИГКС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БА)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81000" marB="8100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56149"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яжёлая</a:t>
                      </a:r>
                    </a:p>
                  </a:txBody>
                  <a:tcPr marL="68580" marR="68580" marT="81000" marB="8100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или 5 (высокие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озы ИГКС</a:t>
                      </a:r>
                      <a:r>
                        <a:rPr lang="en-US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ДБА или отсутствие контроля на максимальной терапии)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81000" marB="81000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19567" y="4561523"/>
            <a:ext cx="7860086" cy="1327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ГКС -  ингаляционные </a:t>
            </a:r>
            <a:r>
              <a:rPr lang="ru-RU" sz="1200" b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юкокортикостероиды</a:t>
            </a:r>
            <a:endParaRPr lang="ru-RU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ДБА – длительно действующие бета 2 – </a:t>
            </a:r>
            <a:r>
              <a:rPr lang="ru-RU" sz="1200" b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онисты</a:t>
            </a:r>
            <a:endParaRPr lang="ru-RU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ДБА – коротко действующие бета 2 – </a:t>
            </a:r>
            <a:r>
              <a:rPr lang="ru-RU" sz="1200" b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онисты</a:t>
            </a:r>
            <a:endParaRPr lang="ru-RU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2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825" kern="0" dirty="0" err="1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4907" y="6093296"/>
            <a:ext cx="8769093" cy="4467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Clr>
                <a:srgbClr val="544F40"/>
              </a:buClr>
              <a:defRPr/>
            </a:pPr>
            <a:r>
              <a:rPr lang="ru-RU" sz="1100" b="1" kern="0" dirty="0">
                <a:solidFill>
                  <a:prstClr val="black"/>
                </a:solidFill>
                <a:cs typeface="Arial" panose="020B0604020202020204" pitchFamily="34" charset="0"/>
              </a:rPr>
              <a:t>Глобальная инициатива по бронхиальной астме.</a:t>
            </a:r>
            <a:r>
              <a:rPr lang="ru-RU" sz="1100" b="1" kern="0" dirty="0">
                <a:solidFill>
                  <a:prstClr val="black"/>
                </a:solidFill>
              </a:rPr>
              <a:t> Глобальная стратегия лечения и профилактики бронхиальной </a:t>
            </a:r>
            <a:r>
              <a:rPr lang="ru-RU" sz="1100" b="1" kern="0" dirty="0" smtClean="0">
                <a:solidFill>
                  <a:prstClr val="black"/>
                </a:solidFill>
              </a:rPr>
              <a:t>астмы. Пересмотр 2018. </a:t>
            </a:r>
            <a:endParaRPr lang="ru-RU" sz="1100" b="1" kern="0" dirty="0">
              <a:solidFill>
                <a:prstClr val="black"/>
              </a:solidFill>
            </a:endParaRPr>
          </a:p>
          <a:p>
            <a:pPr>
              <a:buClr>
                <a:srgbClr val="544F40"/>
              </a:buClr>
              <a:defRPr/>
            </a:pPr>
            <a:r>
              <a:rPr lang="ru-RU" sz="1100" b="1" kern="0" dirty="0">
                <a:solidFill>
                  <a:prstClr val="black"/>
                </a:solidFill>
                <a:cs typeface="Arial" panose="020B0604020202020204" pitchFamily="34" charset="0"/>
              </a:rPr>
              <a:t>Доступно по ссылке: </a:t>
            </a:r>
            <a:r>
              <a:rPr lang="ru-RU" sz="1100" b="1" kern="0" dirty="0">
                <a:solidFill>
                  <a:prstClr val="black"/>
                </a:solidFill>
                <a:cs typeface="Arial" panose="020B0604020202020204" pitchFamily="34" charset="0"/>
                <a:hlinkClick r:id="rId3"/>
              </a:rPr>
              <a:t>https://www.ginasthma.org</a:t>
            </a:r>
            <a:r>
              <a:rPr lang="ru-RU" sz="1100" b="1" kern="0" dirty="0">
                <a:solidFill>
                  <a:prstClr val="black"/>
                </a:solidFill>
                <a:cs typeface="Arial" panose="020B0604020202020204" pitchFamily="34" charset="0"/>
              </a:rPr>
              <a:t>. </a:t>
            </a:r>
            <a:endParaRPr lang="ru-RU" sz="11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5301208"/>
            <a:ext cx="84682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altLang="ru-RU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 структуре тяжести у детей преобладают легкие формы бронхиальной астмы, как правило ускользающие от пристального внимания врачей. </a:t>
            </a:r>
            <a:endParaRPr lang="ru-RU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14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458200" cy="990600"/>
          </a:xfrm>
        </p:spPr>
        <p:txBody>
          <a:bodyPr/>
          <a:lstStyle/>
          <a:p>
            <a:r>
              <a:rPr lang="ru-RU" sz="3600" b="1">
                <a:solidFill>
                  <a:srgbClr val="A50021"/>
                </a:solidFill>
              </a:rPr>
              <a:t>Недостатки к</a:t>
            </a:r>
            <a:r>
              <a:rPr lang="en-US" sz="3600" b="1">
                <a:solidFill>
                  <a:srgbClr val="A50021"/>
                </a:solidFill>
              </a:rPr>
              <a:t>лассификаци</a:t>
            </a:r>
            <a:r>
              <a:rPr lang="ru-RU" sz="3600" b="1">
                <a:solidFill>
                  <a:srgbClr val="A50021"/>
                </a:solidFill>
              </a:rPr>
              <a:t>и БА по степени</a:t>
            </a:r>
            <a:r>
              <a:rPr lang="en-US" sz="3600" b="1">
                <a:solidFill>
                  <a:srgbClr val="A50021"/>
                </a:solidFill>
              </a:rPr>
              <a:t> тяжести</a:t>
            </a:r>
          </a:p>
        </p:txBody>
      </p:sp>
      <p:sp>
        <p:nvSpPr>
          <p:cNvPr id="27651" name="Text Box 3"/>
          <p:cNvSpPr txBox="1">
            <a:spLocks noChangeArrowheads="1"/>
          </p:cNvSpPr>
          <p:nvPr/>
        </p:nvSpPr>
        <p:spPr bwMode="auto">
          <a:xfrm>
            <a:off x="0" y="6553200"/>
            <a:ext cx="53657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ru-RU" sz="1400" i="1" smtClean="0">
                <a:solidFill>
                  <a:srgbClr val="000000"/>
                </a:solidFill>
              </a:rPr>
              <a:t>Адаптировано из </a:t>
            </a:r>
            <a:r>
              <a:rPr lang="en-US" sz="1400" i="1" smtClean="0">
                <a:solidFill>
                  <a:srgbClr val="000000"/>
                </a:solidFill>
              </a:rPr>
              <a:t>GINA</a:t>
            </a:r>
            <a:r>
              <a:rPr lang="ru-RU" sz="1400" i="1" smtClean="0">
                <a:solidFill>
                  <a:srgbClr val="000000"/>
                </a:solidFill>
              </a:rPr>
              <a:t> 2006: </a:t>
            </a:r>
            <a:r>
              <a:rPr lang="en-US" sz="1400" i="1" smtClean="0">
                <a:solidFill>
                  <a:srgbClr val="000000"/>
                </a:solidFill>
                <a:hlinkClick r:id="rId3"/>
              </a:rPr>
              <a:t>www.ginasthma.org</a:t>
            </a:r>
            <a:r>
              <a:rPr lang="en-US" sz="1400" i="1" smtClean="0">
                <a:solidFill>
                  <a:srgbClr val="000000"/>
                </a:solidFill>
              </a:rPr>
              <a:t> </a:t>
            </a:r>
            <a:r>
              <a:rPr lang="ru-RU" sz="1400" i="1" smtClean="0">
                <a:solidFill>
                  <a:srgbClr val="000000"/>
                </a:solidFill>
              </a:rPr>
              <a:t>на 12.12.2006</a:t>
            </a:r>
            <a:endParaRPr lang="en-US" sz="1400" i="1" smtClean="0">
              <a:solidFill>
                <a:srgbClr val="000000"/>
              </a:solidFill>
            </a:endParaRPr>
          </a:p>
        </p:txBody>
      </p:sp>
      <p:sp>
        <p:nvSpPr>
          <p:cNvPr id="27652" name="Rectangle 4"/>
          <p:cNvSpPr>
            <a:spLocks noChangeArrowheads="1"/>
          </p:cNvSpPr>
          <p:nvPr/>
        </p:nvSpPr>
        <p:spPr bwMode="auto">
          <a:xfrm>
            <a:off x="304800" y="1371600"/>
            <a:ext cx="8610600" cy="443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30000"/>
              </a:spcBef>
              <a:spcAft>
                <a:spcPct val="0"/>
              </a:spcAft>
              <a:buFontTx/>
              <a:buChar char="•"/>
            </a:pPr>
            <a:r>
              <a:rPr lang="ru-RU" sz="2400" smtClean="0">
                <a:solidFill>
                  <a:srgbClr val="000000"/>
                </a:solidFill>
                <a:latin typeface="Tahoma" pitchFamily="34" charset="0"/>
              </a:rPr>
              <a:t>Степень тяжести БА зависит не только от тяжести основного заболевания, но и от ответа на терапию</a:t>
            </a:r>
          </a:p>
          <a:p>
            <a:pPr fontAlgn="base">
              <a:spcBef>
                <a:spcPct val="30000"/>
              </a:spcBef>
              <a:spcAft>
                <a:spcPct val="0"/>
              </a:spcAft>
              <a:buFontTx/>
              <a:buChar char="•"/>
            </a:pPr>
            <a:r>
              <a:rPr lang="ru-RU" sz="2400" smtClean="0">
                <a:solidFill>
                  <a:srgbClr val="000000"/>
                </a:solidFill>
                <a:latin typeface="Tahoma" pitchFamily="34" charset="0"/>
              </a:rPr>
              <a:t>Степень тяжести БА у конкретного пациента может меняться с течением времени (через несколько месяцев или лет)</a:t>
            </a:r>
          </a:p>
          <a:p>
            <a:pPr fontAlgn="base">
              <a:spcBef>
                <a:spcPct val="30000"/>
              </a:spcBef>
              <a:spcAft>
                <a:spcPct val="0"/>
              </a:spcAft>
              <a:buFontTx/>
              <a:buChar char="•"/>
            </a:pPr>
            <a:r>
              <a:rPr lang="ru-RU" sz="2400" smtClean="0">
                <a:solidFill>
                  <a:srgbClr val="A50021"/>
                </a:solidFill>
                <a:latin typeface="Tahoma" pitchFamily="34" charset="0"/>
              </a:rPr>
              <a:t>На основании степени тяжести БА трудно предсказать объем терапии, в которой будет нуждаться пациент, и ответ пациента на терапию.</a:t>
            </a:r>
            <a:r>
              <a:rPr lang="ru-RU" sz="2400" smtClean="0">
                <a:solidFill>
                  <a:srgbClr val="009999"/>
                </a:solidFill>
                <a:latin typeface="Tahoma" pitchFamily="34" charset="0"/>
              </a:rPr>
              <a:t> </a:t>
            </a:r>
          </a:p>
          <a:p>
            <a:pPr fontAlgn="base">
              <a:spcBef>
                <a:spcPct val="30000"/>
              </a:spcBef>
              <a:spcAft>
                <a:spcPct val="0"/>
              </a:spcAft>
              <a:buFontTx/>
              <a:buChar char="•"/>
            </a:pPr>
            <a:r>
              <a:rPr lang="ru-RU" sz="2400" smtClean="0">
                <a:solidFill>
                  <a:srgbClr val="000000"/>
                </a:solidFill>
                <a:latin typeface="Tahoma" pitchFamily="34" charset="0"/>
              </a:rPr>
              <a:t>Определение степени тяжести БА </a:t>
            </a:r>
            <a:r>
              <a:rPr lang="ru-RU" sz="2400" smtClean="0">
                <a:solidFill>
                  <a:srgbClr val="A50021"/>
                </a:solidFill>
                <a:latin typeface="Tahoma" pitchFamily="34" charset="0"/>
              </a:rPr>
              <a:t>не всегда позволяет принимать решение об изменении текущей терапии</a:t>
            </a:r>
            <a:r>
              <a:rPr lang="ru-RU" sz="2400" smtClean="0">
                <a:solidFill>
                  <a:srgbClr val="000000"/>
                </a:solidFill>
                <a:latin typeface="Tahoma" pitchFamily="34" charset="0"/>
              </a:rPr>
              <a:t> у конкретного пациента</a:t>
            </a:r>
          </a:p>
        </p:txBody>
      </p:sp>
    </p:spTree>
    <p:extLst>
      <p:ext uri="{BB962C8B-B14F-4D97-AF65-F5344CB8AC3E}">
        <p14:creationId xmlns:p14="http://schemas.microsoft.com/office/powerpoint/2010/main" val="11542391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80988"/>
            <a:ext cx="8602663" cy="914400"/>
          </a:xfrm>
        </p:spPr>
        <p:txBody>
          <a:bodyPr/>
          <a:lstStyle/>
          <a:p>
            <a:r>
              <a:rPr lang="en-US" sz="5400">
                <a:solidFill>
                  <a:srgbClr val="A50021"/>
                </a:solidFill>
              </a:rPr>
              <a:t>GINA </a:t>
            </a:r>
            <a:r>
              <a:rPr lang="ru-RU" sz="5400">
                <a:solidFill>
                  <a:srgbClr val="A50021"/>
                </a:solidFill>
              </a:rPr>
              <a:t>2006-2009:</a:t>
            </a:r>
            <a:r>
              <a:rPr lang="ru-RU" sz="5400"/>
              <a:t> </a:t>
            </a: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349375"/>
            <a:ext cx="8153400" cy="5508625"/>
          </a:xfrm>
        </p:spPr>
        <p:txBody>
          <a:bodyPr/>
          <a:lstStyle/>
          <a:p>
            <a:pPr>
              <a:spcBef>
                <a:spcPct val="0"/>
              </a:spcBef>
              <a:spcAft>
                <a:spcPct val="40000"/>
              </a:spcAft>
            </a:pPr>
            <a:r>
              <a:rPr lang="ru-RU" sz="3300">
                <a:solidFill>
                  <a:schemeClr val="accent2"/>
                </a:solidFill>
              </a:rPr>
              <a:t>Главная цель лечения – достижение и поддержание КОНТРОЛЯ над БА.</a:t>
            </a:r>
          </a:p>
          <a:p>
            <a:pPr>
              <a:spcBef>
                <a:spcPct val="0"/>
              </a:spcBef>
              <a:spcAft>
                <a:spcPct val="40000"/>
              </a:spcAft>
            </a:pPr>
            <a:r>
              <a:rPr lang="ru-RU" sz="3300"/>
              <a:t>Лечение БА:</a:t>
            </a:r>
          </a:p>
          <a:p>
            <a:pPr lvl="1">
              <a:spcBef>
                <a:spcPct val="0"/>
              </a:spcBef>
              <a:spcAft>
                <a:spcPct val="40000"/>
              </a:spcAft>
            </a:pPr>
            <a:r>
              <a:rPr lang="ru-RU" sz="2900"/>
              <a:t>начинается с оценки контроля над астмой;</a:t>
            </a:r>
          </a:p>
          <a:p>
            <a:pPr lvl="1">
              <a:spcBef>
                <a:spcPct val="0"/>
              </a:spcBef>
              <a:spcAft>
                <a:spcPct val="40000"/>
              </a:spcAft>
            </a:pPr>
            <a:r>
              <a:rPr lang="ru-RU" sz="2900"/>
              <a:t>направлено на достижение контроля;</a:t>
            </a:r>
          </a:p>
          <a:p>
            <a:pPr lvl="1">
              <a:spcBef>
                <a:spcPct val="0"/>
              </a:spcBef>
              <a:spcAft>
                <a:spcPct val="40000"/>
              </a:spcAft>
            </a:pPr>
            <a:r>
              <a:rPr lang="ru-RU" sz="2900"/>
              <a:t>объем терапии регулярно переоценивается в зависимости от достижения контроля.</a:t>
            </a:r>
          </a:p>
        </p:txBody>
      </p:sp>
      <p:pic>
        <p:nvPicPr>
          <p:cNvPr id="31748" name="Picture 4" descr="globa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413" y="204788"/>
            <a:ext cx="1357312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9" name="Text Box 5"/>
          <p:cNvSpPr txBox="1">
            <a:spLocks noChangeArrowheads="1"/>
          </p:cNvSpPr>
          <p:nvPr/>
        </p:nvSpPr>
        <p:spPr bwMode="auto">
          <a:xfrm>
            <a:off x="4945063" y="6488113"/>
            <a:ext cx="42021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ru-RU" sz="1400" i="1" smtClean="0">
                <a:solidFill>
                  <a:srgbClr val="FF99CC"/>
                </a:solidFill>
              </a:rPr>
              <a:t> </a:t>
            </a:r>
            <a:r>
              <a:rPr lang="en-US" sz="1400" i="1" smtClean="0">
                <a:solidFill>
                  <a:srgbClr val="FF99CC"/>
                </a:solidFill>
                <a:hlinkClick r:id="rId3"/>
              </a:rPr>
              <a:t>www.ginasthma.org</a:t>
            </a:r>
            <a:r>
              <a:rPr lang="en-US" sz="1400" i="1" smtClean="0">
                <a:solidFill>
                  <a:srgbClr val="FF99C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65202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865" name="Group 49"/>
          <p:cNvGraphicFramePr>
            <a:graphicFrameLocks noGrp="1"/>
          </p:cNvGraphicFramePr>
          <p:nvPr>
            <p:ph idx="1"/>
          </p:nvPr>
        </p:nvGraphicFramePr>
        <p:xfrm>
          <a:off x="179388" y="977900"/>
          <a:ext cx="8785225" cy="5315141"/>
        </p:xfrm>
        <a:graphic>
          <a:graphicData uri="http://schemas.openxmlformats.org/drawingml/2006/table">
            <a:tbl>
              <a:tblPr/>
              <a:tblGrid>
                <a:gridCol w="2379662"/>
                <a:gridCol w="2155825"/>
                <a:gridCol w="2143125"/>
                <a:gridCol w="2106613"/>
              </a:tblGrid>
              <a:tr h="723900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Характеристики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Контролируемая БА (все перечисленное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Частично конт-ролируемая БА</a:t>
                      </a: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(наличие любого проявления в течение 1 недели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контролируе-мая БА</a:t>
                      </a: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15950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невные симптомы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т (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≤ 2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пизодов в неделю)</a:t>
                      </a:r>
                      <a:endParaRPr kumimoji="0" lang="en-US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&gt; 2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эпизодов в неделю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аличие 3 или более признаков частично контролируемой БА в течение любой недели</a:t>
                      </a: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Arial" pitchFamily="34" charset="0"/>
                        </a:rPr>
                        <a:t>и/или…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9288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Ограничение активности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Есть – любой выраженно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4513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очные симптомы/ пробуждения из-за БА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Ест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71500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Потребность в препа-ратах «скорой помощи»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т (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≤ 2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пизодов в неделю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&gt; 2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эпизодов в неделю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23900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ункция легких (ПСВ или ОФВ</a:t>
                      </a:r>
                      <a:r>
                        <a:rPr kumimoji="0" lang="ru-RU" sz="1500" b="1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)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*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ор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&lt;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80% от должного или лучшего показател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7375"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Обострения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е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≥ </a:t>
                      </a: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1 за последний год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**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2244725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Arial" pitchFamily="34" charset="0"/>
                        </a:rPr>
                        <a:t>…любая неделя с обострением*</a:t>
                      </a:r>
                      <a:r>
                        <a:rPr kumimoji="0" lang="en-US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hlink"/>
                          </a:solidFill>
                          <a:effectLst/>
                          <a:latin typeface="Arial" pitchFamily="34" charset="0"/>
                        </a:rPr>
                        <a:t>**</a:t>
                      </a:r>
                      <a:endParaRPr kumimoji="0" lang="ru-RU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4856" name="AutoShape 40"/>
          <p:cNvSpPr>
            <a:spLocks noChangeArrowheads="1"/>
          </p:cNvSpPr>
          <p:nvPr/>
        </p:nvSpPr>
        <p:spPr bwMode="auto">
          <a:xfrm>
            <a:off x="304800" y="188913"/>
            <a:ext cx="8212138" cy="611187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A5002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INA</a:t>
            </a:r>
            <a:r>
              <a:rPr lang="ru-RU" sz="3200" b="1" smtClean="0">
                <a:solidFill>
                  <a:srgbClr val="A5002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2006-2009: Уровни контроля над БА</a:t>
            </a:r>
            <a:endParaRPr lang="en-US" sz="3200" b="1" smtClean="0">
              <a:solidFill>
                <a:srgbClr val="A50021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34857" name="Text Box 41"/>
          <p:cNvSpPr txBox="1">
            <a:spLocks noChangeArrowheads="1"/>
          </p:cNvSpPr>
          <p:nvPr/>
        </p:nvSpPr>
        <p:spPr bwMode="auto">
          <a:xfrm>
            <a:off x="4783138" y="6302375"/>
            <a:ext cx="4360862" cy="290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ru-RU" sz="1300" i="1" smtClean="0">
                <a:solidFill>
                  <a:srgbClr val="000000"/>
                </a:solidFill>
              </a:rPr>
              <a:t>Адаптировано из: </a:t>
            </a:r>
            <a:r>
              <a:rPr lang="en-US" sz="1300" i="1" smtClean="0">
                <a:solidFill>
                  <a:srgbClr val="000000"/>
                </a:solidFill>
                <a:hlinkClick r:id="rId3"/>
              </a:rPr>
              <a:t>www.ginasthma.org</a:t>
            </a:r>
            <a:r>
              <a:rPr lang="en-US" sz="1300" i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4858" name="Text Box 42"/>
          <p:cNvSpPr txBox="1">
            <a:spLocks noChangeArrowheads="1"/>
          </p:cNvSpPr>
          <p:nvPr/>
        </p:nvSpPr>
        <p:spPr bwMode="auto">
          <a:xfrm>
            <a:off x="165100" y="6283325"/>
            <a:ext cx="8978900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srgbClr val="000000"/>
                </a:solidFill>
              </a:rPr>
              <a:t>*Только у лиц в возрасте </a:t>
            </a:r>
            <a:r>
              <a:rPr lang="en-US" sz="1200" smtClean="0">
                <a:solidFill>
                  <a:srgbClr val="000000"/>
                </a:solidFill>
              </a:rPr>
              <a:t>&gt;</a:t>
            </a:r>
            <a:r>
              <a:rPr lang="ru-RU" sz="1200" smtClean="0">
                <a:solidFill>
                  <a:srgbClr val="000000"/>
                </a:solidFill>
              </a:rPr>
              <a:t>5 ле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srgbClr val="000000"/>
                </a:solidFill>
              </a:rPr>
              <a:t>**Каждое обострение требует немедленной переоценки адекватности терап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srgbClr val="000000"/>
                </a:solidFill>
              </a:rPr>
              <a:t>*** По определению неделя с обострением – это неделя неконтролируемой БА</a:t>
            </a:r>
          </a:p>
        </p:txBody>
      </p:sp>
    </p:spTree>
    <p:extLst>
      <p:ext uri="{BB962C8B-B14F-4D97-AF65-F5344CB8AC3E}">
        <p14:creationId xmlns:p14="http://schemas.microsoft.com/office/powerpoint/2010/main" val="37687480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smtClean="0"/>
          </a:p>
        </p:txBody>
      </p:sp>
      <p:pic>
        <p:nvPicPr>
          <p:cNvPr id="4608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200150"/>
            <a:ext cx="8320087" cy="534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084" name="TextBox 3"/>
          <p:cNvSpPr txBox="1">
            <a:spLocks noChangeArrowheads="1"/>
          </p:cNvSpPr>
          <p:nvPr/>
        </p:nvSpPr>
        <p:spPr bwMode="auto">
          <a:xfrm>
            <a:off x="214313" y="6537325"/>
            <a:ext cx="89296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200" smtClean="0">
                <a:solidFill>
                  <a:srgbClr val="000000"/>
                </a:solidFill>
                <a:latin typeface="Calibri" pitchFamily="34" charset="0"/>
              </a:rPr>
              <a:t>И.С.Гущин, О.М.Курбачева Аллегия и Аллергенспецифическая иммунотерапия. – М.: «Фармарус Принт Медиа», 2010 – с.7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395288" y="-26988"/>
            <a:ext cx="8229600" cy="1143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chemeClr val="bg1"/>
            </a:outerShdw>
          </a:effectLst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4400" dirty="0">
                <a:solidFill>
                  <a:srgbClr val="0000FF"/>
                </a:solidFill>
                <a:cs typeface="Arial" pitchFamily="34" charset="0"/>
              </a:rPr>
              <a:t>Схема развития аллергического воспаления</a:t>
            </a:r>
          </a:p>
        </p:txBody>
      </p:sp>
      <p:sp>
        <p:nvSpPr>
          <p:cNvPr id="46086" name="TextBox 10"/>
          <p:cNvSpPr txBox="1">
            <a:spLocks noChangeArrowheads="1"/>
          </p:cNvSpPr>
          <p:nvPr/>
        </p:nvSpPr>
        <p:spPr bwMode="auto">
          <a:xfrm rot="-5400000">
            <a:off x="-280194" y="5688806"/>
            <a:ext cx="687388" cy="200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700" smtClean="0"/>
              <a:t>2012/09-084</a:t>
            </a:r>
          </a:p>
        </p:txBody>
      </p:sp>
    </p:spTree>
    <p:extLst>
      <p:ext uri="{BB962C8B-B14F-4D97-AF65-F5344CB8AC3E}">
        <p14:creationId xmlns:p14="http://schemas.microsoft.com/office/powerpoint/2010/main" val="7746915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Klim\Desktop\слайды\IMG_2737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8982538" cy="67369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4417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91" name="Title 1">
            <a:extLst>
              <a:ext uri="{FF2B5EF4-FFF2-40B4-BE49-F238E27FC236}">
                <a16:creationId xmlns="" xmlns:a16="http://schemas.microsoft.com/office/drawing/2014/main" id="{339496DF-076D-4566-9A23-6510AA29369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5191" y="476672"/>
            <a:ext cx="7580312" cy="936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rmAutofit/>
          </a:bodyPr>
          <a:lstStyle/>
          <a:p>
            <a:pPr marL="174625" algn="ctr" eaLnBrk="1" hangingPunct="1"/>
            <a:r>
              <a:rPr lang="ru-RU" altLang="ru-RU" sz="3600" dirty="0">
                <a:latin typeface="+mn-lt"/>
              </a:rPr>
              <a:t>Определение БА (</a:t>
            </a:r>
            <a:r>
              <a:rPr lang="en-US" altLang="ru-RU" sz="3600" dirty="0">
                <a:latin typeface="+mn-lt"/>
              </a:rPr>
              <a:t>GINA 201</a:t>
            </a:r>
            <a:r>
              <a:rPr lang="ru-RU" altLang="ru-RU" sz="3600" dirty="0" smtClean="0">
                <a:latin typeface="+mn-lt"/>
              </a:rPr>
              <a:t>8-2019</a:t>
            </a:r>
            <a:r>
              <a:rPr lang="en-US" altLang="ru-RU" sz="3600" dirty="0" smtClean="0">
                <a:latin typeface="+mn-lt"/>
              </a:rPr>
              <a:t>)</a:t>
            </a:r>
            <a:endParaRPr lang="en-AU" altLang="ru-RU" sz="3600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D3AD794-31E8-433B-893A-7DEBA222C5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19" y="1556792"/>
            <a:ext cx="8547993" cy="4571919"/>
          </a:xfrm>
          <a:ln>
            <a:noFill/>
          </a:ln>
        </p:spPr>
        <p:txBody>
          <a:bodyPr>
            <a:noAutofit/>
          </a:bodyPr>
          <a:lstStyle/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</a:rPr>
              <a:t>Бронхиальная астма </a:t>
            </a:r>
            <a:r>
              <a:rPr lang="ru-RU" dirty="0">
                <a:solidFill>
                  <a:schemeClr val="tx1"/>
                </a:solidFill>
              </a:rPr>
              <a:t>(БА)</a:t>
            </a:r>
            <a:r>
              <a:rPr lang="en-US" dirty="0">
                <a:solidFill>
                  <a:schemeClr val="tx1"/>
                </a:solidFill>
              </a:rPr>
              <a:t> – </a:t>
            </a:r>
            <a:r>
              <a:rPr lang="ru-RU" b="1" dirty="0">
                <a:solidFill>
                  <a:schemeClr val="tx1"/>
                </a:solidFill>
              </a:rPr>
              <a:t>гетерогенное заболевание</a:t>
            </a:r>
            <a:r>
              <a:rPr lang="ru-RU" sz="2800" b="1" dirty="0">
                <a:solidFill>
                  <a:schemeClr val="tx1"/>
                </a:solidFill>
              </a:rPr>
              <a:t>,</a:t>
            </a:r>
            <a:r>
              <a:rPr lang="ru-RU" sz="2800" dirty="0">
                <a:solidFill>
                  <a:schemeClr val="tx1"/>
                </a:solidFill>
              </a:rPr>
              <a:t> </a:t>
            </a:r>
            <a:r>
              <a:rPr lang="ru-RU" sz="2800" b="1" dirty="0">
                <a:solidFill>
                  <a:schemeClr val="tx1"/>
                </a:solidFill>
              </a:rPr>
              <a:t>обычно характеризующееся хроническим воспалением дыхательных путей.</a:t>
            </a:r>
          </a:p>
          <a:p>
            <a:pPr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2">
                    <a:lumMod val="75000"/>
                  </a:schemeClr>
                </a:solidFill>
              </a:rPr>
              <a:t>Диагноз устанавливают на основании наличия анамнезе респираторных симптомов, таких как свистящее дыхание, одышка, стеснение в груди и кашель, которые вариабельны 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</a:rPr>
              <a:t>по 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</a:rPr>
              <a:t>времени и интенсивности, вместе с вариабельностью ограничений дыхательного потока на выдохе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7B31202C-8FA5-43BE-98B6-4D307C92E3B8}"/>
              </a:ext>
            </a:extLst>
          </p:cNvPr>
          <p:cNvSpPr txBox="1"/>
          <p:nvPr/>
        </p:nvSpPr>
        <p:spPr>
          <a:xfrm>
            <a:off x="160338" y="6624638"/>
            <a:ext cx="20462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GINA 2015</a:t>
            </a:r>
          </a:p>
        </p:txBody>
      </p:sp>
      <p:sp>
        <p:nvSpPr>
          <p:cNvPr id="7" name="Rectangle 1">
            <a:extLst>
              <a:ext uri="{FF2B5EF4-FFF2-40B4-BE49-F238E27FC236}">
                <a16:creationId xmlns="" xmlns:a16="http://schemas.microsoft.com/office/drawing/2014/main" id="{31A95F26-CBAD-4E27-9D01-2048C45C1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560" y="6129590"/>
            <a:ext cx="66600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Глобальная стратегия профилактики и лечения Бронхиальной астмы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 pitchFamily="34" charset="0"/>
              </a:rPr>
              <a:t>GINA. Global strategy for asthma management and prevention, 20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 pitchFamily="34" charset="0"/>
              </a:rPr>
              <a:t>8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  <a:sym typeface="Arial" pitchFamily="34" charset="0"/>
              </a:rPr>
              <a:t>.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vailable at: http://www.ginasthma.org/uploads/users/files/GINA_Report_20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8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.pdf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;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692696"/>
            <a:ext cx="1080120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050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ru-RU" smtClean="0"/>
          </a:p>
        </p:txBody>
      </p:sp>
      <p:pic>
        <p:nvPicPr>
          <p:cNvPr id="67587" name="Содержимое 3" descr="фенотип+генотип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8"/>
            <a:ext cx="9336088" cy="6889751"/>
          </a:xfrm>
        </p:spPr>
      </p:pic>
    </p:spTree>
    <p:extLst>
      <p:ext uri="{BB962C8B-B14F-4D97-AF65-F5344CB8AC3E}">
        <p14:creationId xmlns:p14="http://schemas.microsoft.com/office/powerpoint/2010/main" val="350944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>
          <a:xfrm>
            <a:off x="571500" y="133357"/>
            <a:ext cx="7886700" cy="1325563"/>
          </a:xfrm>
        </p:spPr>
        <p:txBody>
          <a:bodyPr/>
          <a:lstStyle/>
          <a:p>
            <a:pPr eaLnBrk="1" hangingPunct="1">
              <a:defRPr/>
            </a:pPr>
            <a:r>
              <a:rPr lang="ru-RU" altLang="ru-RU" sz="3600" dirty="0" smtClean="0"/>
              <a:t/>
            </a:r>
            <a:br>
              <a:rPr lang="ru-RU" altLang="ru-RU" sz="3600" dirty="0" smtClean="0"/>
            </a:br>
            <a:r>
              <a:rPr lang="ru-RU" altLang="ru-RU" sz="3600" dirty="0" smtClean="0"/>
              <a:t>     Гетерогенная астма… Фенотипы</a:t>
            </a:r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277938" y="6529469"/>
            <a:ext cx="514350" cy="231775"/>
          </a:xfrm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l" eaLnBrk="1" hangingPunct="1"/>
            <a:fld id="{32CB3DCC-165E-4137-9694-046F585214F4}" type="slidenum">
              <a:rPr lang="en-US" altLang="ru-RU" sz="1000">
                <a:solidFill>
                  <a:srgbClr val="E7DEC9"/>
                </a:solidFill>
                <a:latin typeface="Gill Sans MT"/>
              </a:rPr>
              <a:pPr algn="l" eaLnBrk="1" hangingPunct="1"/>
              <a:t>21</a:t>
            </a:fld>
            <a:endParaRPr lang="en-US" altLang="ru-RU" sz="1000">
              <a:solidFill>
                <a:srgbClr val="E7DEC9"/>
              </a:solidFill>
              <a:latin typeface="Gill Sans MT"/>
            </a:endParaRPr>
          </a:p>
        </p:txBody>
      </p:sp>
      <p:pic>
        <p:nvPicPr>
          <p:cNvPr id="68612" name="Picture 4" descr="http://lenta-ua.net/uploads/posts/2014-02/1391856124_kurilschi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13308"/>
            <a:ext cx="1761339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131633" y="1425299"/>
            <a:ext cx="2055001" cy="1384995"/>
          </a:xfrm>
          <a:prstGeom prst="rect">
            <a:avLst/>
          </a:prstGeom>
          <a:solidFill>
            <a:srgbClr val="C00000">
              <a:alpha val="29000"/>
            </a:srgbClr>
          </a:solidFill>
          <a:ln w="19050">
            <a:solidFill>
              <a:srgbClr val="C00000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charset="0"/>
              <a:buNone/>
              <a:defRPr sz="1050" b="1" u="sng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Аллергическая </a:t>
            </a:r>
            <a:r>
              <a:rPr lang="ru-RU" sz="1200" dirty="0" smtClean="0">
                <a:solidFill>
                  <a:prstClr val="black"/>
                </a:solidFill>
              </a:rPr>
              <a:t>астма</a:t>
            </a:r>
          </a:p>
          <a:p>
            <a:pPr>
              <a:defRPr/>
            </a:pPr>
            <a:endParaRPr lang="ru-RU" sz="1200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начало в детств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аллергический анамнез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</a:t>
            </a:r>
            <a:r>
              <a:rPr lang="ru-RU" sz="1200" u="none" dirty="0" err="1">
                <a:solidFill>
                  <a:prstClr val="black"/>
                </a:solidFill>
              </a:rPr>
              <a:t>эозинофилия</a:t>
            </a:r>
            <a:r>
              <a:rPr lang="ru-RU" sz="1200" u="none" dirty="0">
                <a:solidFill>
                  <a:prstClr val="black"/>
                </a:solidFill>
              </a:rPr>
              <a:t> в мокрот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хороший ответ на ИГКС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05500" y="2844074"/>
            <a:ext cx="3188412" cy="1015663"/>
          </a:xfrm>
          <a:prstGeom prst="rect">
            <a:avLst/>
          </a:prstGeom>
          <a:solidFill>
            <a:srgbClr val="C00000">
              <a:alpha val="29000"/>
            </a:srgbClr>
          </a:solidFill>
          <a:ln w="19050">
            <a:solidFill>
              <a:srgbClr val="C00000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charset="0"/>
              <a:buNone/>
              <a:defRPr sz="1050" b="1" u="sng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z="1200" dirty="0">
                <a:solidFill>
                  <a:prstClr val="black"/>
                </a:solidFill>
              </a:rPr>
              <a:t>Астма и ожирени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выраженная респираторная симптоматика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слабое эозинофильное воспалени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ответ на АЛТР</a:t>
            </a:r>
          </a:p>
        </p:txBody>
      </p:sp>
      <p:pic>
        <p:nvPicPr>
          <p:cNvPr id="68615" name="Picture 13" descr="https://encrypted-tbn2.gstatic.com/images?q=tbn:ANd9GcQMoNXREGKDgPe4gi-HrZd6tY6GgE9yrAB29CMwZlwolIlS08GuogdqOygh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35" y="4297392"/>
            <a:ext cx="2002438" cy="141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6" name="Picture 17" descr="https://encrypted-tbn2.gstatic.com/images?q=tbn:ANd9GcTQRlTkUhiNCvU9iHsGhNNYVTl1bD3h7nBpxm3JbDboFbQXhZ4OxSwiKKPx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6619" y="3860826"/>
            <a:ext cx="1551631" cy="175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6861664" y="5585141"/>
            <a:ext cx="2232248" cy="120032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None/>
              <a:defRPr sz="1050" b="1" u="sng"/>
            </a:lvl1pPr>
          </a:lstStyle>
          <a:p>
            <a:pPr>
              <a:buFont typeface="Arial" charset="0"/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" charset="0"/>
                <a:cs typeface="Arial" charset="0"/>
              </a:rPr>
              <a:t>Астма с </a:t>
            </a:r>
          </a:p>
          <a:p>
            <a:pPr>
              <a:buFont typeface="Arial" charset="0"/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" charset="0"/>
                <a:cs typeface="Arial" charset="0"/>
              </a:rPr>
              <a:t>поздним дебютом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начало в зрелом возрасте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чаще женщины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</a:t>
            </a:r>
            <a:r>
              <a:rPr lang="ru-RU" sz="1200" u="none" dirty="0" err="1">
                <a:solidFill>
                  <a:prstClr val="black"/>
                </a:solidFill>
                <a:latin typeface="Arial" charset="0"/>
                <a:cs typeface="Arial" charset="0"/>
              </a:rPr>
              <a:t>неаллергики</a:t>
            </a:r>
            <a:endParaRPr lang="ru-RU" sz="1200" u="none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резистентность ГКС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79688" y="5655614"/>
            <a:ext cx="3816424" cy="1200329"/>
          </a:xfrm>
          <a:prstGeom prst="rect">
            <a:avLst/>
          </a:prstGeom>
          <a:noFill/>
          <a:ln w="19050">
            <a:solidFill>
              <a:srgbClr val="C00000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None/>
              <a:defRPr sz="1050" b="1" u="sng"/>
            </a:lvl1pPr>
          </a:lstStyle>
          <a:p>
            <a:pPr algn="ctr">
              <a:buFont typeface="Arial" charset="0"/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" charset="0"/>
                <a:cs typeface="Arial" charset="0"/>
              </a:rPr>
              <a:t>Астма с фиксированной</a:t>
            </a:r>
          </a:p>
          <a:p>
            <a:pPr algn="ctr">
              <a:buFont typeface="Arial" charset="0"/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" charset="0"/>
                <a:cs typeface="Arial" charset="0"/>
              </a:rPr>
              <a:t>бронхиальной обструкцией</a:t>
            </a:r>
          </a:p>
          <a:p>
            <a:pPr algn="ctr"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длительный анамнез астмы</a:t>
            </a:r>
          </a:p>
          <a:p>
            <a:pPr algn="ctr"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часто неадекватная предшествующая</a:t>
            </a:r>
          </a:p>
          <a:p>
            <a:pPr algn="ctr"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контролирующая терапия</a:t>
            </a:r>
          </a:p>
          <a:p>
            <a:pPr algn="ctr"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</a:t>
            </a:r>
            <a:r>
              <a:rPr lang="ru-RU" sz="1200" u="none" dirty="0" err="1">
                <a:solidFill>
                  <a:prstClr val="black"/>
                </a:solidFill>
                <a:latin typeface="Arial" charset="0"/>
                <a:cs typeface="Arial" charset="0"/>
              </a:rPr>
              <a:t>ремоделирование</a:t>
            </a: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 дыхательных путей</a:t>
            </a:r>
          </a:p>
        </p:txBody>
      </p:sp>
      <p:pic>
        <p:nvPicPr>
          <p:cNvPr id="68619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36" y="1412879"/>
            <a:ext cx="1681163" cy="165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3870929" y="3084232"/>
            <a:ext cx="2245708" cy="1200329"/>
          </a:xfrm>
          <a:prstGeom prst="rect">
            <a:avLst/>
          </a:prstGeom>
          <a:solidFill>
            <a:srgbClr val="C00000">
              <a:alpha val="29000"/>
            </a:srgbClr>
          </a:solidFill>
          <a:ln w="19050">
            <a:solidFill>
              <a:srgbClr val="C00000"/>
            </a:solidFill>
            <a:prstDash val="dash"/>
          </a:ln>
        </p:spPr>
        <p:txBody>
          <a:bodyPr wrap="square">
            <a:spAutoFit/>
          </a:bodyPr>
          <a:lstStyle>
            <a:defPPr>
              <a:defRPr lang="en-US"/>
            </a:defPPr>
            <a:lvl1pPr>
              <a:buFont typeface="Arial" charset="0"/>
              <a:buNone/>
              <a:defRPr sz="1050" b="1" u="sng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z="1200" dirty="0" err="1">
                <a:solidFill>
                  <a:prstClr val="black"/>
                </a:solidFill>
              </a:rPr>
              <a:t>Аспириновая</a:t>
            </a:r>
            <a:r>
              <a:rPr lang="ru-RU" sz="1200" dirty="0">
                <a:solidFill>
                  <a:prstClr val="black"/>
                </a:solidFill>
              </a:rPr>
              <a:t> астма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взрослые пациенты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более тяжелое течени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реакции на аспирин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↑ </a:t>
            </a:r>
            <a:r>
              <a:rPr lang="ru-RU" sz="1200" u="none" dirty="0" err="1">
                <a:solidFill>
                  <a:prstClr val="black"/>
                </a:solidFill>
              </a:rPr>
              <a:t>лейкотриенов</a:t>
            </a:r>
            <a:r>
              <a:rPr lang="ru-RU" sz="1200" u="none" dirty="0">
                <a:solidFill>
                  <a:prstClr val="black"/>
                </a:solidFill>
              </a:rPr>
              <a:t> в моче</a:t>
            </a:r>
          </a:p>
          <a:p>
            <a:pPr>
              <a:defRPr/>
            </a:pPr>
            <a:r>
              <a:rPr lang="ru-RU" sz="1200" u="none" dirty="0">
                <a:solidFill>
                  <a:prstClr val="black"/>
                </a:solidFill>
              </a:rPr>
              <a:t>-ответ на АЛТП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51905" y="4679015"/>
            <a:ext cx="3515771" cy="1200329"/>
          </a:xfrm>
          <a:prstGeom prst="rect">
            <a:avLst/>
          </a:prstGeom>
          <a:solidFill>
            <a:srgbClr val="C00000">
              <a:alpha val="29000"/>
            </a:srgbClr>
          </a:solidFill>
          <a:ln w="19050">
            <a:solidFill>
              <a:srgbClr val="C00000"/>
            </a:solidFill>
            <a:prstDash val="dash"/>
          </a:ln>
        </p:spPr>
        <p:txBody>
          <a:bodyPr wrap="none">
            <a:spAutoFit/>
          </a:bodyPr>
          <a:lstStyle>
            <a:defPPr>
              <a:defRPr lang="en-US"/>
            </a:defPPr>
            <a:lvl1pPr>
              <a:buNone/>
              <a:defRPr sz="1050" b="1" u="sng"/>
            </a:lvl1pPr>
          </a:lstStyle>
          <a:p>
            <a:pPr>
              <a:buFont typeface="Arial" charset="0"/>
              <a:buNone/>
              <a:defRPr/>
            </a:pPr>
            <a:r>
              <a:rPr lang="ru-RU" sz="1200" dirty="0">
                <a:solidFill>
                  <a:prstClr val="black"/>
                </a:solidFill>
                <a:latin typeface="Arial" charset="0"/>
                <a:cs typeface="Arial" charset="0"/>
              </a:rPr>
              <a:t>Неаллергическая </a:t>
            </a:r>
            <a:r>
              <a:rPr lang="ru-RU" sz="1200" dirty="0" smtClean="0">
                <a:solidFill>
                  <a:prstClr val="black"/>
                </a:solidFill>
                <a:latin typeface="Arial" charset="0"/>
                <a:cs typeface="Arial" charset="0"/>
              </a:rPr>
              <a:t>астма</a:t>
            </a:r>
          </a:p>
          <a:p>
            <a:pPr>
              <a:buFont typeface="Arial" charset="0"/>
              <a:buNone/>
              <a:defRPr/>
            </a:pPr>
            <a:endParaRPr lang="ru-RU" sz="1200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чаще взрослые пациенты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</a:t>
            </a:r>
            <a:r>
              <a:rPr lang="ru-RU" sz="1200" u="none" dirty="0" err="1">
                <a:solidFill>
                  <a:prstClr val="black"/>
                </a:solidFill>
                <a:latin typeface="Arial" charset="0"/>
                <a:cs typeface="Arial" charset="0"/>
              </a:rPr>
              <a:t>нейтрофилия</a:t>
            </a: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/</a:t>
            </a:r>
            <a:r>
              <a:rPr lang="ru-RU" sz="1200" u="none" dirty="0" err="1">
                <a:solidFill>
                  <a:prstClr val="black"/>
                </a:solidFill>
                <a:latin typeface="Arial" charset="0"/>
                <a:cs typeface="Arial" charset="0"/>
              </a:rPr>
              <a:t>эозинофилия</a:t>
            </a: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 в мокроте или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содержать единичные гранулоциты</a:t>
            </a:r>
          </a:p>
          <a:p>
            <a:pPr>
              <a:buFont typeface="Arial" charset="0"/>
              <a:buNone/>
              <a:defRPr/>
            </a:pPr>
            <a:r>
              <a:rPr lang="ru-RU" sz="1200" u="none" dirty="0">
                <a:solidFill>
                  <a:prstClr val="black"/>
                </a:solidFill>
                <a:latin typeface="Arial" charset="0"/>
                <a:cs typeface="Arial" charset="0"/>
              </a:rPr>
              <a:t>-плохой ответ на ИГКС</a:t>
            </a:r>
          </a:p>
        </p:txBody>
      </p:sp>
      <p:pic>
        <p:nvPicPr>
          <p:cNvPr id="6862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641" y="1425284"/>
            <a:ext cx="2143125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23" name="Рисунок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714" y="1412887"/>
            <a:ext cx="1614487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755650" y="7"/>
            <a:ext cx="8064500" cy="830997"/>
          </a:xfrm>
          <a:prstGeom prst="rect">
            <a:avLst/>
          </a:prstGeom>
          <a:solidFill>
            <a:srgbClr val="7030A0"/>
          </a:solidFill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prstClr val="white"/>
                </a:solidFill>
                <a:latin typeface="Arial" charset="0"/>
                <a:cs typeface="Arial" charset="0"/>
              </a:rPr>
              <a:t>«К каждому ребенку необходимо найти индивидуальный подход» Н.Филатов</a:t>
            </a:r>
          </a:p>
        </p:txBody>
      </p:sp>
    </p:spTree>
    <p:extLst>
      <p:ext uri="{BB962C8B-B14F-4D97-AF65-F5344CB8AC3E}">
        <p14:creationId xmlns:p14="http://schemas.microsoft.com/office/powerpoint/2010/main" val="241624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solidFill>
            <a:srgbClr val="0070C0"/>
          </a:solidFill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+mn-lt"/>
              </a:rPr>
              <a:t>Зачем нужны фенотипы?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67544" y="1444020"/>
            <a:ext cx="4968552" cy="4860844"/>
          </a:xfrm>
        </p:spPr>
        <p:txBody>
          <a:bodyPr>
            <a:noAutofit/>
          </a:bodyPr>
          <a:lstStyle/>
          <a:p>
            <a:pPr algn="just">
              <a:lnSpc>
                <a:spcPct val="150000"/>
              </a:lnSpc>
            </a:pPr>
            <a:r>
              <a:rPr lang="ru-RU" sz="1600" b="1" dirty="0"/>
              <a:t>«Фенотип БА» - группа больных, объединенных общими клиническими и/или биологическими признаками заболевания. </a:t>
            </a:r>
          </a:p>
          <a:p>
            <a:pPr algn="just">
              <a:lnSpc>
                <a:spcPct val="150000"/>
              </a:lnSpc>
            </a:pPr>
            <a:r>
              <a:rPr lang="ru-RU" sz="1600" b="1" dirty="0"/>
              <a:t>Определение фенотипа позволяет  назначить препарат именно тому пациенту, который лучше всего на него ответит </a:t>
            </a:r>
          </a:p>
          <a:p>
            <a:pPr algn="just">
              <a:lnSpc>
                <a:spcPct val="150000"/>
              </a:lnSpc>
            </a:pPr>
            <a:r>
              <a:rPr lang="ru-RU" sz="1600" b="1" dirty="0"/>
              <a:t>Значение «</a:t>
            </a:r>
            <a:r>
              <a:rPr lang="ru-RU" sz="1600" b="1" dirty="0" err="1"/>
              <a:t>фенотипизации</a:t>
            </a:r>
            <a:r>
              <a:rPr lang="ru-RU" sz="1600" b="1" dirty="0"/>
              <a:t>» (в медицине вообще и в БА в частности) - оптимизация диагностики, лечения и профилактики.</a:t>
            </a:r>
          </a:p>
          <a:p>
            <a:pPr algn="just">
              <a:lnSpc>
                <a:spcPct val="150000"/>
              </a:lnSpc>
            </a:pPr>
            <a:r>
              <a:rPr lang="ru-RU" sz="1600" b="1" dirty="0"/>
              <a:t>Выделение фенотипов БА - основа персонифицированной терапии БА</a:t>
            </a:r>
            <a:r>
              <a:rPr lang="ru-RU" sz="1600" b="1" dirty="0" smtClean="0"/>
              <a:t>.</a:t>
            </a: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915816" y="6293628"/>
            <a:ext cx="6079157" cy="334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788" dirty="0">
                <a:solidFill>
                  <a:prstClr val="black"/>
                </a:solidFill>
              </a:rPr>
              <a:t>Masahiro H, Takahiko H “Asthma phenotypes” Journal of General and Family Medicine, Volume18, Issue5, October 2017, Pages 189-194</a:t>
            </a:r>
          </a:p>
        </p:txBody>
      </p:sp>
      <p:pic>
        <p:nvPicPr>
          <p:cNvPr id="11" name="Объект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468" y="2862423"/>
            <a:ext cx="1620000" cy="1463400"/>
          </a:xfrm>
          <a:prstGeom prst="rect">
            <a:avLst/>
          </a:prstGeom>
        </p:spPr>
      </p:pic>
      <p:pic>
        <p:nvPicPr>
          <p:cNvPr id="10" name="Объект 4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5940" y="1417655"/>
            <a:ext cx="1798963" cy="1593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5" descr="Asthma inhaler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54943" y="3863073"/>
            <a:ext cx="1336500" cy="18958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2020203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28600"/>
            <a:ext cx="8393113" cy="609600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altLang="ru-RU" sz="4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Th2- </a:t>
            </a:r>
            <a:r>
              <a:rPr lang="ru-RU" altLang="ru-RU" sz="4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ависимые эндотипы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600200"/>
            <a:ext cx="8388350" cy="4953000"/>
          </a:xfrm>
        </p:spPr>
        <p:txBody>
          <a:bodyPr/>
          <a:lstStyle/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r>
              <a:rPr lang="ru-RU" sz="2800" b="1" i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ллергическая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А, связанная с воздействием аллергенов (</a:t>
            </a:r>
            <a:r>
              <a:rPr lang="en-US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L-4,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L-13) 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яжесть варьирует от легкой до тяжелой</a:t>
            </a: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r>
              <a:rPr lang="ru-RU" sz="2800" b="1" i="1" u="sng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ирусиндуцированная</a:t>
            </a:r>
            <a:r>
              <a:rPr lang="ru-RU" sz="2800" b="1" i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А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, связана с низкими значениями </a:t>
            </a:r>
            <a:r>
              <a:rPr lang="en-US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NF-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ямбда</a:t>
            </a: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А физического усилия (важную роль играют тучные клетки, </a:t>
            </a:r>
            <a:r>
              <a:rPr lang="en-US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L-9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r>
              <a:rPr lang="ru-RU" sz="2800" b="1" i="1" u="sng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спириновая</a:t>
            </a:r>
            <a:r>
              <a:rPr lang="ru-RU" sz="2800" b="1" i="1" u="sng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А 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8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ейкотриены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, эозинофилы, </a:t>
            </a:r>
            <a:r>
              <a:rPr lang="en-US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IL-5</a:t>
            </a:r>
            <a:r>
              <a:rPr 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>
              <a:defRPr/>
            </a:pPr>
            <a:endParaRPr lang="ru-RU" sz="1800" b="1" i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24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енотипы часто сочетаются </a:t>
            </a:r>
          </a:p>
          <a:p>
            <a:pPr>
              <a:defRPr/>
            </a:pPr>
            <a:r>
              <a:rPr lang="ru-RU" sz="24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ущественное влияние на фенотип могут оказывать сопутствующие заболевания </a:t>
            </a: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endParaRPr lang="ru-RU" sz="32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AutoNum type="arabicPeriod"/>
              <a:defRPr/>
            </a:pPr>
            <a:endParaRPr lang="ru-RU" sz="2800" b="1" i="1" dirty="0" smtClean="0">
              <a:solidFill>
                <a:srgbClr val="002060"/>
              </a:solidFill>
            </a:endParaRPr>
          </a:p>
          <a:p>
            <a:pPr marL="609600" indent="-609600">
              <a:lnSpc>
                <a:spcPct val="80000"/>
              </a:lnSpc>
              <a:buClr>
                <a:srgbClr val="FFCC00"/>
              </a:buClr>
              <a:buFont typeface="Wingdings" pitchFamily="2" charset="2"/>
              <a:buNone/>
              <a:defRPr/>
            </a:pPr>
            <a:endParaRPr lang="ru-RU" sz="2800" dirty="0" smtClean="0"/>
          </a:p>
        </p:txBody>
      </p:sp>
    </p:spTree>
    <p:extLst>
      <p:ext uri="{BB962C8B-B14F-4D97-AF65-F5344CB8AC3E}">
        <p14:creationId xmlns:p14="http://schemas.microsoft.com/office/powerpoint/2010/main" val="1020907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228600"/>
            <a:ext cx="8393113" cy="1066800"/>
          </a:xfrm>
        </p:spPr>
        <p:txBody>
          <a:bodyPr/>
          <a:lstStyle/>
          <a:p>
            <a:r>
              <a:rPr lang="ru-RU" altLang="ru-RU" sz="2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ЗНАЧИМОСТЬ ФЕНОТИПОВ БА В ЗАВИСИМОСТИ ОТ ВОЗРАСТА РЕБЕНКА  </a:t>
            </a:r>
            <a:r>
              <a:rPr lang="en-US" altLang="ru-RU" sz="2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PR</a:t>
            </a:r>
            <a:r>
              <a:rPr lang="ru-RU" altLang="ru-RU" sz="2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</a:t>
            </a:r>
            <a:r>
              <a:rPr lang="en-US" altLang="ru-RU" sz="2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CTALL consensus report, 2008) </a:t>
            </a:r>
            <a:endParaRPr lang="ru-RU" altLang="ru-RU" sz="2000" b="1" i="1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600200"/>
            <a:ext cx="8388350" cy="4953000"/>
          </a:xfrm>
        </p:spPr>
        <p:txBody>
          <a:bodyPr/>
          <a:lstStyle/>
          <a:p>
            <a:r>
              <a:rPr lang="ru-RU" altLang="ru-RU" sz="2800" b="1" i="1" u="sng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Дошкольники (3 - 5 лет) </a:t>
            </a:r>
            <a:r>
              <a:rPr lang="ru-RU" altLang="ru-RU" sz="2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ирус-индуцированная &gt; аллерген-индуцированная&gt;астма физического усилия </a:t>
            </a:r>
          </a:p>
          <a:p>
            <a:r>
              <a:rPr lang="ru-RU" altLang="ru-RU" sz="2800" b="1" i="1" u="sng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Школьный возраст (6 - 12 лет) </a:t>
            </a:r>
            <a:r>
              <a:rPr lang="ru-RU" altLang="ru-RU" sz="2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ллерген-индуцированная&gt; вирус-индуцированная &gt;астма физического усилия </a:t>
            </a:r>
          </a:p>
          <a:p>
            <a:r>
              <a:rPr lang="ru-RU" altLang="ru-RU" sz="2800" b="1" i="1" u="sng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дростки (старше 12 лет) </a:t>
            </a:r>
            <a:r>
              <a:rPr lang="ru-RU" altLang="ru-RU" sz="2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ллерген-индуцированная&gt; вирус-индуцированная&gt;астма физического усилия </a:t>
            </a:r>
            <a:endParaRPr lang="ru-RU" altLang="ru-RU" sz="2800" i="1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8762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23528" y="188640"/>
            <a:ext cx="8393113" cy="914400"/>
          </a:xfrm>
        </p:spPr>
        <p:txBody>
          <a:bodyPr/>
          <a:lstStyle/>
          <a:p>
            <a:pPr algn="ctr"/>
            <a:r>
              <a:rPr lang="ru-RU" altLang="ru-RU" sz="3600" dirty="0" smtClean="0"/>
              <a:t/>
            </a:r>
            <a:br>
              <a:rPr lang="ru-RU" altLang="ru-RU" sz="3600" dirty="0" smtClean="0"/>
            </a:br>
            <a:r>
              <a:rPr lang="ru-RU" altLang="ru-RU" sz="2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СТМА ФИЗИЧЕСКОГО УСИЛИЯ</a:t>
            </a:r>
          </a:p>
        </p:txBody>
      </p:sp>
      <p:sp>
        <p:nvSpPr>
          <p:cNvPr id="36867" name="Содержимое 2"/>
          <p:cNvSpPr>
            <a:spLocks noGrp="1"/>
          </p:cNvSpPr>
          <p:nvPr>
            <p:ph idx="4294967295"/>
          </p:nvPr>
        </p:nvSpPr>
        <p:spPr>
          <a:xfrm>
            <a:off x="539552" y="1700808"/>
            <a:ext cx="8388350" cy="4800600"/>
          </a:xfrm>
        </p:spPr>
        <p:txBody>
          <a:bodyPr/>
          <a:lstStyle/>
          <a:p>
            <a:r>
              <a:rPr lang="ru-RU" altLang="ru-RU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нный фенотип может быть изолированным в 6-13% случаев. </a:t>
            </a:r>
            <a:r>
              <a:rPr lang="ru-RU" alt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 ЭТОМ СЛУЧАЕ СИМПТОМЫ ПОЛНОСТЬЮ ОТСУТСТВУЮТ МЕЖДУ ОБОСТРЕНИЯМИ </a:t>
            </a:r>
          </a:p>
          <a:p>
            <a:r>
              <a:rPr lang="ru-RU" altLang="ru-RU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Часто сочетается с аллергическим ринитом </a:t>
            </a:r>
          </a:p>
          <a:p>
            <a:r>
              <a:rPr lang="ru-RU" altLang="ru-RU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провождает другие фенотипы в 90% случаев </a:t>
            </a:r>
          </a:p>
          <a:p>
            <a:r>
              <a:rPr lang="ru-RU" altLang="ru-RU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стречается у детей чаще, чем у взрослых по причине более частой и непредсказуемой физической нагрузки </a:t>
            </a:r>
          </a:p>
        </p:txBody>
      </p:sp>
      <p:sp>
        <p:nvSpPr>
          <p:cNvPr id="2" name="Rectangle 1"/>
          <p:cNvSpPr/>
          <p:nvPr/>
        </p:nvSpPr>
        <p:spPr>
          <a:xfrm>
            <a:off x="755576" y="6453336"/>
            <a:ext cx="1854995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solidFill>
                  <a:schemeClr val="accent4">
                    <a:lumMod val="25000"/>
                  </a:schemeClr>
                </a:solidFill>
              </a:rPr>
              <a:t>Из личного архива Скачковой М.А</a:t>
            </a:r>
          </a:p>
        </p:txBody>
      </p:sp>
    </p:spTree>
    <p:extLst>
      <p:ext uri="{BB962C8B-B14F-4D97-AF65-F5344CB8AC3E}">
        <p14:creationId xmlns:p14="http://schemas.microsoft.com/office/powerpoint/2010/main" val="32074923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Содержимое 1"/>
          <p:cNvSpPr>
            <a:spLocks noGrp="1"/>
          </p:cNvSpPr>
          <p:nvPr>
            <p:ph idx="4294967295"/>
          </p:nvPr>
        </p:nvSpPr>
        <p:spPr>
          <a:xfrm>
            <a:off x="381000" y="1524000"/>
            <a:ext cx="8393113" cy="3962400"/>
          </a:xfrm>
        </p:spPr>
        <p:txBody>
          <a:bodyPr/>
          <a:lstStyle/>
          <a:p>
            <a:endParaRPr lang="ru-RU" altLang="ru-RU" sz="2600" b="1" i="1" smtClean="0">
              <a:solidFill>
                <a:srgbClr val="000066"/>
              </a:solidFill>
              <a:latin typeface="Times New Roman" pitchFamily="18" charset="0"/>
            </a:endParaRPr>
          </a:p>
          <a:p>
            <a:r>
              <a:rPr lang="ru-RU" altLang="ru-RU" sz="2600" b="1" i="1" smtClean="0">
                <a:solidFill>
                  <a:srgbClr val="000066"/>
                </a:solidFill>
                <a:latin typeface="Times New Roman" pitchFamily="18" charset="0"/>
              </a:rPr>
              <a:t>Частый фенотип у детей дошкольного возраста </a:t>
            </a:r>
          </a:p>
          <a:p>
            <a:r>
              <a:rPr lang="ru-RU" altLang="ru-RU" sz="2600" b="1" i="1" smtClean="0">
                <a:solidFill>
                  <a:srgbClr val="000066"/>
                </a:solidFill>
                <a:latin typeface="Times New Roman" pitchFamily="18" charset="0"/>
              </a:rPr>
              <a:t>Триггерами являются вирусы</a:t>
            </a:r>
          </a:p>
          <a:p>
            <a:r>
              <a:rPr lang="ru-RU" altLang="ru-RU" sz="2600" b="1" i="1" smtClean="0">
                <a:solidFill>
                  <a:srgbClr val="000066"/>
                </a:solidFill>
                <a:latin typeface="Times New Roman" pitchFamily="18" charset="0"/>
              </a:rPr>
              <a:t>Необходимо разобщение с источником ОРВИ</a:t>
            </a:r>
          </a:p>
          <a:p>
            <a:r>
              <a:rPr lang="ru-RU" altLang="ru-RU" sz="2600" b="1" i="1" smtClean="0">
                <a:solidFill>
                  <a:srgbClr val="000066"/>
                </a:solidFill>
                <a:latin typeface="Times New Roman" pitchFamily="18" charset="0"/>
              </a:rPr>
              <a:t>Терапия: оздоровительные мероприятия, закаливание, занятия спортом,  возможна монотерапия антилейкотриенами </a:t>
            </a:r>
          </a:p>
          <a:p>
            <a:r>
              <a:rPr lang="ru-RU" altLang="ru-RU" sz="2600" b="1" i="1" smtClean="0">
                <a:solidFill>
                  <a:srgbClr val="000066"/>
                </a:solidFill>
                <a:latin typeface="Times New Roman" pitchFamily="18" charset="0"/>
              </a:rPr>
              <a:t>Прогноз - не определенный</a:t>
            </a:r>
            <a:endParaRPr lang="ru-RU" altLang="ru-RU" sz="3300" b="1" i="1" smtClean="0">
              <a:solidFill>
                <a:srgbClr val="000066"/>
              </a:solidFill>
              <a:latin typeface="Times New Roman" pitchFamily="18" charset="0"/>
            </a:endParaRPr>
          </a:p>
        </p:txBody>
      </p:sp>
      <p:sp>
        <p:nvSpPr>
          <p:cNvPr id="37891" name="Rectangle 2"/>
          <p:cNvSpPr>
            <a:spLocks noChangeArrowheads="1"/>
          </p:cNvSpPr>
          <p:nvPr/>
        </p:nvSpPr>
        <p:spPr bwMode="auto">
          <a:xfrm>
            <a:off x="381000" y="304800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b="1" i="1" dirty="0" smtClean="0">
                <a:solidFill>
                  <a:srgbClr val="000066"/>
                </a:solidFill>
                <a:latin typeface="Times New Roman" pitchFamily="18" charset="0"/>
                <a:cs typeface="Arial" pitchFamily="34" charset="0"/>
              </a:rPr>
              <a:t>ВИРУСИНДУЦИРОВАННАЯ АСТМА</a:t>
            </a:r>
          </a:p>
        </p:txBody>
      </p:sp>
    </p:spTree>
    <p:extLst>
      <p:ext uri="{BB962C8B-B14F-4D97-AF65-F5344CB8AC3E}">
        <p14:creationId xmlns:p14="http://schemas.microsoft.com/office/powerpoint/2010/main" val="21486803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Klim\Desktop\слайды\IMG_2738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74136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8644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1066800"/>
          </a:xfrm>
        </p:spPr>
        <p:txBody>
          <a:bodyPr/>
          <a:lstStyle/>
          <a:p>
            <a:r>
              <a:rPr lang="ru-RU" sz="3200" b="1" i="1">
                <a:solidFill>
                  <a:srgbClr val="333399"/>
                </a:solidFill>
              </a:rPr>
              <a:t>Основные направления в терапии бронхиальной астмы у детей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768475"/>
            <a:ext cx="8229600" cy="4357688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ru-RU" sz="2800" b="1"/>
              <a:t>Устранение воздействия причинных факторов (элиминационные мероприятия)</a:t>
            </a:r>
          </a:p>
          <a:p>
            <a:pPr>
              <a:buFont typeface="Wingdings" pitchFamily="2" charset="2"/>
              <a:buChar char="Ø"/>
            </a:pPr>
            <a:r>
              <a:rPr lang="ru-RU" sz="2800" b="1"/>
              <a:t>Превентивная (контролирующая) терапия</a:t>
            </a:r>
          </a:p>
          <a:p>
            <a:pPr>
              <a:buFont typeface="Wingdings" pitchFamily="2" charset="2"/>
              <a:buChar char="Ø"/>
            </a:pPr>
            <a:r>
              <a:rPr lang="ru-RU" sz="2800" b="1"/>
              <a:t>Фармакотерапия острого периода болезни</a:t>
            </a:r>
          </a:p>
          <a:p>
            <a:pPr>
              <a:buFont typeface="Wingdings" pitchFamily="2" charset="2"/>
              <a:buChar char="Ø"/>
            </a:pPr>
            <a:r>
              <a:rPr lang="ru-RU" sz="2800" b="1"/>
              <a:t>Аллергенспецифическая терапия</a:t>
            </a:r>
          </a:p>
          <a:p>
            <a:pPr>
              <a:buFont typeface="Wingdings" pitchFamily="2" charset="2"/>
              <a:buChar char="Ø"/>
            </a:pPr>
            <a:r>
              <a:rPr lang="ru-RU" sz="2800" b="1"/>
              <a:t>Реабилитация</a:t>
            </a:r>
          </a:p>
          <a:p>
            <a:pPr>
              <a:buFont typeface="Wingdings" pitchFamily="2" charset="2"/>
              <a:buChar char="Ø"/>
            </a:pPr>
            <a:r>
              <a:rPr lang="ru-RU" sz="2800" b="1"/>
              <a:t>Обучение пациентов</a:t>
            </a:r>
          </a:p>
        </p:txBody>
      </p:sp>
    </p:spTree>
    <p:extLst>
      <p:ext uri="{BB962C8B-B14F-4D97-AF65-F5344CB8AC3E}">
        <p14:creationId xmlns:p14="http://schemas.microsoft.com/office/powerpoint/2010/main" val="3733013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AutoShape 2"/>
          <p:cNvSpPr>
            <a:spLocks noChangeArrowheads="1"/>
          </p:cNvSpPr>
          <p:nvPr/>
        </p:nvSpPr>
        <p:spPr bwMode="auto">
          <a:xfrm>
            <a:off x="2555776" y="908720"/>
            <a:ext cx="3971925" cy="105251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685800">
              <a:defRPr/>
            </a:pPr>
            <a:r>
              <a:rPr lang="ru-RU" altLang="ru-RU" sz="27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panose="020B0604020202020204" pitchFamily="34" charset="0"/>
              </a:rPr>
              <a:t>Оценка контроля БА</a:t>
            </a:r>
          </a:p>
        </p:txBody>
      </p:sp>
      <p:sp>
        <p:nvSpPr>
          <p:cNvPr id="41987" name="AutoShape 3"/>
          <p:cNvSpPr>
            <a:spLocks noChangeArrowheads="1"/>
          </p:cNvSpPr>
          <p:nvPr/>
        </p:nvSpPr>
        <p:spPr bwMode="auto">
          <a:xfrm>
            <a:off x="1187646" y="2843294"/>
            <a:ext cx="2066751" cy="11001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6858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858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85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85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858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ru-RU" altLang="ru-RU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ируемая </a:t>
            </a:r>
            <a:br>
              <a:rPr lang="ru-RU" altLang="ru-RU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</a:t>
            </a:r>
          </a:p>
        </p:txBody>
      </p:sp>
      <p:sp>
        <p:nvSpPr>
          <p:cNvPr id="41988" name="AutoShape 4"/>
          <p:cNvSpPr>
            <a:spLocks noChangeArrowheads="1"/>
          </p:cNvSpPr>
          <p:nvPr/>
        </p:nvSpPr>
        <p:spPr bwMode="auto">
          <a:xfrm>
            <a:off x="3548064" y="2852818"/>
            <a:ext cx="2068512" cy="1100137"/>
          </a:xfrm>
          <a:prstGeom prst="roundRect">
            <a:avLst>
              <a:gd name="adj" fmla="val 16667"/>
            </a:avLst>
          </a:prstGeom>
          <a:solidFill>
            <a:srgbClr val="CCCCFF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6858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858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85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85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858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чно </a:t>
            </a:r>
            <a:b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ируемая</a:t>
            </a:r>
            <a:b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</a:t>
            </a:r>
          </a:p>
        </p:txBody>
      </p:sp>
      <p:sp>
        <p:nvSpPr>
          <p:cNvPr id="41989" name="AutoShape 5"/>
          <p:cNvSpPr>
            <a:spLocks noChangeArrowheads="1"/>
          </p:cNvSpPr>
          <p:nvPr/>
        </p:nvSpPr>
        <p:spPr bwMode="auto">
          <a:xfrm>
            <a:off x="5748363" y="2836944"/>
            <a:ext cx="2352039" cy="1100137"/>
          </a:xfrm>
          <a:prstGeom prst="roundRect">
            <a:avLst>
              <a:gd name="adj" fmla="val 16667"/>
            </a:avLst>
          </a:prstGeom>
          <a:solidFill>
            <a:srgbClr val="FF9966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defTabSz="6858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858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858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858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858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858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None/>
            </a:pPr>
            <a: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нтролируемая</a:t>
            </a:r>
            <a:b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</a:t>
            </a:r>
          </a:p>
        </p:txBody>
      </p:sp>
      <p:sp>
        <p:nvSpPr>
          <p:cNvPr id="22534" name="AutoShape 6"/>
          <p:cNvSpPr>
            <a:spLocks noChangeArrowheads="1"/>
          </p:cNvSpPr>
          <p:nvPr/>
        </p:nvSpPr>
        <p:spPr bwMode="auto">
          <a:xfrm>
            <a:off x="683568" y="4460876"/>
            <a:ext cx="2864496" cy="170442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5000"/>
              <a:buFont typeface="Wingdings" panose="05000000000000000000" pitchFamily="2" charset="2"/>
              <a:buChar char="n"/>
              <a:defRPr sz="2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800">
              <a:spcBef>
                <a:spcPct val="0"/>
              </a:spcBef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  <a:t>Продолжить</a:t>
            </a:r>
            <a:b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  <a:t>проводимое</a:t>
            </a:r>
            <a:b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  <a:t>лечение </a:t>
            </a:r>
            <a:b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prstClr val="white"/>
                </a:solidFill>
                <a:cs typeface="Arial" panose="020B0604020202020204" pitchFamily="34" charset="0"/>
              </a:rPr>
              <a:t>и возможность снижения </a:t>
            </a:r>
            <a:br>
              <a:rPr lang="ru-RU" altLang="ru-RU" sz="1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prstClr val="white"/>
                </a:solidFill>
                <a:cs typeface="Arial" panose="020B0604020202020204" pitchFamily="34" charset="0"/>
              </a:rPr>
              <a:t>объема терапии</a:t>
            </a:r>
          </a:p>
        </p:txBody>
      </p:sp>
      <p:sp>
        <p:nvSpPr>
          <p:cNvPr id="22535" name="AutoShape 7"/>
          <p:cNvSpPr>
            <a:spLocks noChangeArrowheads="1"/>
          </p:cNvSpPr>
          <p:nvPr/>
        </p:nvSpPr>
        <p:spPr bwMode="auto">
          <a:xfrm>
            <a:off x="3635896" y="4454555"/>
            <a:ext cx="2112441" cy="1461264"/>
          </a:xfrm>
          <a:prstGeom prst="roundRect">
            <a:avLst>
              <a:gd name="adj" fmla="val 16667"/>
            </a:avLst>
          </a:prstGeom>
          <a:solidFill>
            <a:srgbClr val="CCCCFF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5000"/>
              <a:buFont typeface="Wingdings" panose="05000000000000000000" pitchFamily="2" charset="2"/>
              <a:buChar char="n"/>
              <a:defRPr sz="2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ct val="0"/>
              </a:spcBef>
              <a:buClrTx/>
              <a:buSzTx/>
              <a:buFont typeface="Wingdings" panose="05000000000000000000" pitchFamily="2" charset="2"/>
              <a:buNone/>
              <a:defRPr/>
            </a:pPr>
            <a: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  <a:t>Рассмотреть </a:t>
            </a:r>
            <a:b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  <a:t>возможность </a:t>
            </a:r>
            <a:b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  <a:t>увеличения </a:t>
            </a:r>
            <a: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  <a:t/>
            </a:r>
            <a:br>
              <a:rPr lang="ru-RU" altLang="ru-RU" sz="1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altLang="ru-RU" sz="1800" b="1" dirty="0">
                <a:solidFill>
                  <a:prstClr val="black"/>
                </a:solidFill>
                <a:cs typeface="Arial" panose="020B0604020202020204" pitchFamily="34" charset="0"/>
              </a:rPr>
              <a:t>объема терапии</a:t>
            </a:r>
            <a:endParaRPr lang="ru-RU" altLang="ru-RU" sz="135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45416" name="AutoShape 8"/>
          <p:cNvSpPr>
            <a:spLocks noChangeArrowheads="1"/>
          </p:cNvSpPr>
          <p:nvPr/>
        </p:nvSpPr>
        <p:spPr bwMode="auto">
          <a:xfrm>
            <a:off x="5919804" y="4381550"/>
            <a:ext cx="2252611" cy="1534319"/>
          </a:xfrm>
          <a:prstGeom prst="roundRect">
            <a:avLst>
              <a:gd name="adj" fmla="val 16667"/>
            </a:avLst>
          </a:prstGeom>
          <a:solidFill>
            <a:srgbClr val="FF9966"/>
          </a:solidFill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defTabSz="685800">
              <a:defRPr/>
            </a:pPr>
            <a: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  <a:t>Увеличить объем </a:t>
            </a:r>
            <a:b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  <a:t>терапии </a:t>
            </a:r>
            <a:b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  <a:t>Направить к</a:t>
            </a:r>
            <a:b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  <a:t>специалисту/</a:t>
            </a:r>
            <a:br>
              <a:rPr lang="ru-RU" altLang="ru-RU" sz="1600" b="1" dirty="0">
                <a:solidFill>
                  <a:prstClr val="black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altLang="ru-RU" sz="16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panose="020B0604020202020204" pitchFamily="34" charset="0"/>
              </a:rPr>
              <a:t>госпитализировать</a:t>
            </a:r>
            <a:r>
              <a:rPr lang="ru-RU" altLang="ru-RU" sz="1500" b="1" dirty="0">
                <a:solidFill>
                  <a:srgbClr val="CC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22537" name="Line 9"/>
          <p:cNvSpPr>
            <a:spLocks noChangeShapeType="1"/>
          </p:cNvSpPr>
          <p:nvPr/>
        </p:nvSpPr>
        <p:spPr bwMode="auto">
          <a:xfrm flipH="1">
            <a:off x="2483768" y="2204864"/>
            <a:ext cx="554608" cy="504056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38" name="Line 10"/>
          <p:cNvSpPr>
            <a:spLocks noChangeShapeType="1"/>
          </p:cNvSpPr>
          <p:nvPr/>
        </p:nvSpPr>
        <p:spPr bwMode="auto">
          <a:xfrm>
            <a:off x="6300192" y="2204864"/>
            <a:ext cx="576064" cy="43204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39" name="Line 11"/>
          <p:cNvSpPr>
            <a:spLocks noChangeShapeType="1"/>
          </p:cNvSpPr>
          <p:nvPr/>
        </p:nvSpPr>
        <p:spPr bwMode="auto">
          <a:xfrm>
            <a:off x="4644008" y="2204864"/>
            <a:ext cx="0" cy="576064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40" name="Line 12"/>
          <p:cNvSpPr>
            <a:spLocks noChangeShapeType="1"/>
          </p:cNvSpPr>
          <p:nvPr/>
        </p:nvSpPr>
        <p:spPr bwMode="auto">
          <a:xfrm>
            <a:off x="2379663" y="4010029"/>
            <a:ext cx="0" cy="37941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41" name="Line 13"/>
          <p:cNvSpPr>
            <a:spLocks noChangeShapeType="1"/>
          </p:cNvSpPr>
          <p:nvPr/>
        </p:nvSpPr>
        <p:spPr bwMode="auto">
          <a:xfrm>
            <a:off x="4672013" y="4003719"/>
            <a:ext cx="0" cy="3778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42" name="Line 14"/>
          <p:cNvSpPr>
            <a:spLocks noChangeShapeType="1"/>
          </p:cNvSpPr>
          <p:nvPr/>
        </p:nvSpPr>
        <p:spPr bwMode="auto">
          <a:xfrm>
            <a:off x="6818313" y="3992571"/>
            <a:ext cx="0" cy="3778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43" name="Line 15"/>
          <p:cNvSpPr>
            <a:spLocks noChangeShapeType="1"/>
          </p:cNvSpPr>
          <p:nvPr/>
        </p:nvSpPr>
        <p:spPr bwMode="auto">
          <a:xfrm>
            <a:off x="5548313" y="5027613"/>
            <a:ext cx="400050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ru-RU" sz="135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2544" name="Text Box 16"/>
          <p:cNvSpPr txBox="1">
            <a:spLocks noChangeArrowheads="1"/>
          </p:cNvSpPr>
          <p:nvPr/>
        </p:nvSpPr>
        <p:spPr bwMode="auto">
          <a:xfrm>
            <a:off x="2947989" y="5794375"/>
            <a:ext cx="5053012" cy="242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SzPct val="75000"/>
              <a:buFont typeface="Wingdings" panose="05000000000000000000" pitchFamily="2" charset="2"/>
              <a:buChar char="n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SzPct val="55000"/>
              <a:buFont typeface="Wingdings" panose="05000000000000000000" pitchFamily="2" charset="2"/>
              <a:buChar char="n"/>
              <a:defRPr sz="2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685800">
              <a:spcBef>
                <a:spcPct val="50000"/>
              </a:spcBef>
              <a:buClrTx/>
              <a:buSzTx/>
              <a:buFont typeface="Wingdings" panose="05000000000000000000" pitchFamily="2" charset="2"/>
              <a:buNone/>
              <a:defRPr/>
            </a:pPr>
            <a:endParaRPr lang="en-US" altLang="ru-RU" sz="975" i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03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 idx="4294967295"/>
          </p:nvPr>
        </p:nvSpPr>
        <p:spPr bwMode="auto">
          <a:xfrm>
            <a:off x="179512" y="188641"/>
            <a:ext cx="8784976" cy="61753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ru-RU" sz="3600" b="1" dirty="0" smtClean="0">
                <a:ln w="11430"/>
                <a:solidFill>
                  <a:schemeClr val="accent2">
                    <a:lumMod val="50000"/>
                  </a:schemeClr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Бронхиальная астма:</a:t>
            </a:r>
            <a:r>
              <a:rPr lang="en-US" sz="3600" b="1" dirty="0" smtClean="0">
                <a:ln w="11430"/>
                <a:solidFill>
                  <a:schemeClr val="accent2">
                    <a:lumMod val="50000"/>
                  </a:schemeClr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ru-RU" sz="3600" b="1" dirty="0" smtClean="0">
                <a:ln w="11430"/>
                <a:solidFill>
                  <a:schemeClr val="accent2">
                    <a:lumMod val="50000"/>
                  </a:schemeClr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состояние проблемы</a:t>
            </a:r>
          </a:p>
        </p:txBody>
      </p:sp>
      <p:sp>
        <p:nvSpPr>
          <p:cNvPr id="9219" name="Содержимое 2"/>
          <p:cNvSpPr>
            <a:spLocks noGrp="1"/>
          </p:cNvSpPr>
          <p:nvPr>
            <p:ph idx="4294967295"/>
          </p:nvPr>
        </p:nvSpPr>
        <p:spPr bwMode="auto">
          <a:xfrm>
            <a:off x="468313" y="1125552"/>
            <a:ext cx="8229600" cy="4827207"/>
          </a:xfrm>
          <a:prstGeom prst="rect">
            <a:avLst/>
          </a:prstGeom>
          <a:solidFill>
            <a:srgbClr val="99FFC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>
            <a:normAutofit lnSpcReduction="10000"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>
              <a:buFont typeface="Wingdings" pitchFamily="2" charset="2"/>
              <a:buChar char="Ø"/>
            </a:pPr>
            <a:r>
              <a:rPr lang="ru-RU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Вчера: </a:t>
            </a:r>
            <a:r>
              <a:rPr lang="ru-RU" b="1" dirty="0" smtClean="0">
                <a:ln w="11430"/>
                <a:solidFill>
                  <a:srgbClr val="3333CC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распространенность БА в 60-х не превышала 2-4%, однако с середины 60-х начинает резко увеличиваться;</a:t>
            </a:r>
          </a:p>
          <a:p>
            <a:pPr>
              <a:buFont typeface="Wingdings" pitchFamily="2" charset="2"/>
              <a:buChar char="Ø"/>
            </a:pPr>
            <a:r>
              <a:rPr lang="ru-RU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Сегодня: </a:t>
            </a:r>
            <a:r>
              <a:rPr lang="ru-RU" b="1" dirty="0" smtClean="0">
                <a:ln w="11430"/>
                <a:solidFill>
                  <a:srgbClr val="3333CC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БА – одно из самых распространенных заболеваний человека (300 млн больных БА в мире) – около 8 %;</a:t>
            </a:r>
          </a:p>
          <a:p>
            <a:pPr>
              <a:buFont typeface="Wingdings" pitchFamily="2" charset="2"/>
              <a:buChar char="Ø"/>
            </a:pPr>
            <a:r>
              <a:rPr lang="ru-RU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Завтра:</a:t>
            </a:r>
            <a:r>
              <a:rPr lang="ru-RU" b="1" dirty="0" smtClean="0">
                <a:ln w="11430"/>
                <a:solidFill>
                  <a:srgbClr val="3333CC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 к 2025г. БА разовьется еще у 100-150 млн человек;</a:t>
            </a:r>
          </a:p>
          <a:p>
            <a:pPr>
              <a:buFont typeface="Wingdings" pitchFamily="2" charset="2"/>
              <a:buChar char="Ø"/>
            </a:pPr>
            <a:r>
              <a:rPr lang="ru-RU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к 2030г.</a:t>
            </a:r>
            <a:r>
              <a:rPr lang="en-US" b="1" dirty="0" smtClean="0">
                <a:ln w="11430"/>
                <a:solidFill>
                  <a:srgbClr val="FF000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 </a:t>
            </a:r>
            <a:r>
              <a:rPr lang="en-US" b="1" dirty="0" smtClean="0">
                <a:ln w="11430"/>
                <a:solidFill>
                  <a:srgbClr val="3333CC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– </a:t>
            </a:r>
            <a:r>
              <a:rPr lang="ru-RU" b="1" dirty="0" smtClean="0">
                <a:ln w="11430"/>
                <a:solidFill>
                  <a:srgbClr val="3333CC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50% жителей планеты будут аллергиками</a:t>
            </a:r>
            <a:endParaRPr lang="ru-RU" sz="1800" b="1" dirty="0" smtClean="0">
              <a:ln w="11430"/>
              <a:solidFill>
                <a:srgbClr val="3333CC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39552" y="6381328"/>
            <a:ext cx="226055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prstClr val="black"/>
                </a:solidFill>
              </a:rPr>
              <a:t>из доклада А.Г.Чучалина на ЧиЛ, 2010</a:t>
            </a:r>
          </a:p>
        </p:txBody>
      </p:sp>
    </p:spTree>
    <p:extLst>
      <p:ext uri="{BB962C8B-B14F-4D97-AF65-F5344CB8AC3E}">
        <p14:creationId xmlns:p14="http://schemas.microsoft.com/office/powerpoint/2010/main" val="361014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5"/>
          <p:cNvSpPr>
            <a:spLocks noChangeArrowheads="1"/>
          </p:cNvSpPr>
          <p:nvPr/>
        </p:nvSpPr>
        <p:spPr bwMode="auto">
          <a:xfrm>
            <a:off x="683568" y="1196752"/>
            <a:ext cx="8065593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0075" indent="-2571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u="sng" dirty="0">
                <a:solidFill>
                  <a:srgbClr val="006600"/>
                </a:solidFill>
                <a:latin typeface="Arial Narrow" panose="020B0606020202030204" pitchFamily="34" charset="0"/>
              </a:rPr>
              <a:t>Современная терапия направлена на: 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устранение аллергического воспаления слизистой оболочки бронхов 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уменьшение гиперреактивности бронхов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восстановление бронхиальной проходимости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едупреждение структурной перестройки стенки бронхов </a:t>
            </a:r>
          </a:p>
        </p:txBody>
      </p:sp>
      <p:sp>
        <p:nvSpPr>
          <p:cNvPr id="80899" name="Rectangle 6"/>
          <p:cNvSpPr>
            <a:spLocks noChangeArrowheads="1"/>
          </p:cNvSpPr>
          <p:nvPr/>
        </p:nvSpPr>
        <p:spPr bwMode="auto">
          <a:xfrm>
            <a:off x="1002542" y="3213042"/>
            <a:ext cx="757078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0075" indent="-257175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u="sng" dirty="0">
                <a:solidFill>
                  <a:srgbClr val="006600"/>
                </a:solidFill>
                <a:latin typeface="Arial Narrow" panose="020B0606020202030204" pitchFamily="34" charset="0"/>
              </a:rPr>
              <a:t>Основные причины тяжелого течения и летальности при БА</a:t>
            </a:r>
            <a:r>
              <a:rPr lang="ru-RU" altLang="ru-RU" sz="2000" b="1" u="sng" dirty="0" smtClean="0">
                <a:solidFill>
                  <a:srgbClr val="006600"/>
                </a:solidFill>
                <a:latin typeface="Arial Narrow" panose="020B0606020202030204" pitchFamily="34" charset="0"/>
              </a:rPr>
              <a:t>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2000" b="1" u="sng" dirty="0">
              <a:solidFill>
                <a:srgbClr val="006600"/>
              </a:solidFill>
              <a:latin typeface="Arial Narrow" panose="020B0606020202030204" pitchFamily="34" charset="0"/>
            </a:endParaRP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несвоевременная диагностика</a:t>
            </a:r>
          </a:p>
          <a:p>
            <a:pPr lvl="1" eaLnBrk="1" fontAlgn="base" hangingPunct="1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2000" b="1" dirty="0">
                <a:solidFill>
                  <a:prstClr val="black"/>
                </a:solidFill>
                <a:latin typeface="Arial Narrow" panose="020B0606020202030204" pitchFamily="34" charset="0"/>
              </a:rPr>
              <a:t>неадекватная терапия</a:t>
            </a:r>
          </a:p>
        </p:txBody>
      </p:sp>
      <p:sp>
        <p:nvSpPr>
          <p:cNvPr id="80900" name="Rectangle 7"/>
          <p:cNvSpPr>
            <a:spLocks noChangeArrowheads="1"/>
          </p:cNvSpPr>
          <p:nvPr/>
        </p:nvSpPr>
        <p:spPr bwMode="auto">
          <a:xfrm>
            <a:off x="1032208" y="4542227"/>
            <a:ext cx="813276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u="sng" dirty="0">
                <a:solidFill>
                  <a:srgbClr val="006600"/>
                </a:solidFill>
                <a:latin typeface="Corbel" panose="020B0503020204020204" pitchFamily="34" charset="0"/>
              </a:rPr>
              <a:t>Выбор лечения определяется тяжестью течения и периодом БА</a:t>
            </a:r>
          </a:p>
        </p:txBody>
      </p:sp>
      <p:sp>
        <p:nvSpPr>
          <p:cNvPr id="80901" name="Rectangle 8"/>
          <p:cNvSpPr>
            <a:spLocks noChangeArrowheads="1"/>
          </p:cNvSpPr>
          <p:nvPr/>
        </p:nvSpPr>
        <p:spPr bwMode="auto">
          <a:xfrm>
            <a:off x="1017425" y="5373255"/>
            <a:ext cx="8224837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400" b="1" u="sng" dirty="0">
                <a:solidFill>
                  <a:srgbClr val="006600"/>
                </a:solidFill>
                <a:latin typeface="Corbel" panose="020B0503020204020204" pitchFamily="34" charset="0"/>
              </a:rPr>
              <a:t>При фармакотерапии БА рекомендуется «ступенчатый» подход</a:t>
            </a:r>
          </a:p>
        </p:txBody>
      </p:sp>
      <p:sp>
        <p:nvSpPr>
          <p:cNvPr id="80902" name="Rectangle 3"/>
          <p:cNvSpPr>
            <a:spLocks noChangeArrowheads="1"/>
          </p:cNvSpPr>
          <p:nvPr/>
        </p:nvSpPr>
        <p:spPr bwMode="auto">
          <a:xfrm>
            <a:off x="1187450" y="260698"/>
            <a:ext cx="720097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685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C00000"/>
                </a:solidFill>
                <a:latin typeface="Arial Narrow" panose="020B0606020202030204" pitchFamily="34" charset="0"/>
              </a:rPr>
              <a:t>Программа ведения детей с БА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3608" y="6309320"/>
            <a:ext cx="7407275" cy="438582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>
              <a:defRPr/>
            </a:pPr>
            <a:r>
              <a:rPr lang="ru-RU" sz="75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 – бронхиальная астма</a:t>
            </a:r>
          </a:p>
          <a:p>
            <a:pPr defTabSz="685800">
              <a:defRPr/>
            </a:pPr>
            <a:r>
              <a:rPr lang="ru-RU" sz="75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750" i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75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</p:spTree>
    <p:extLst>
      <p:ext uri="{BB962C8B-B14F-4D97-AF65-F5344CB8AC3E}">
        <p14:creationId xmlns:p14="http://schemas.microsoft.com/office/powerpoint/2010/main" val="9052191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F3CB2C38-7A2E-4C4F-BA51-9B20287E2E74}" type="slidenum">
              <a:rPr lang="en-US" altLang="ru-RU" sz="1100">
                <a:solidFill>
                  <a:srgbClr val="988984"/>
                </a:solidFill>
                <a:latin typeface="Calibri" pitchFamily="34" charset="0"/>
              </a:rPr>
              <a:pPr algn="r"/>
              <a:t>31</a:t>
            </a:fld>
            <a:endParaRPr lang="en-US" altLang="ru-RU" sz="1100">
              <a:solidFill>
                <a:srgbClr val="988984"/>
              </a:solidFill>
              <a:latin typeface="Calibri" pitchFamily="34" charset="0"/>
            </a:endParaRPr>
          </a:p>
        </p:txBody>
      </p:sp>
      <p:sp>
        <p:nvSpPr>
          <p:cNvPr id="194562" name="Text Placeholder 7"/>
          <p:cNvSpPr>
            <a:spLocks noGrp="1" noChangeArrowheads="1"/>
          </p:cNvSpPr>
          <p:nvPr>
            <p:ph type="body" sz="quarter" idx="13"/>
          </p:nvPr>
        </p:nvSpPr>
        <p:spPr>
          <a:xfrm>
            <a:off x="21431" y="5662622"/>
            <a:ext cx="8954691" cy="1017587"/>
          </a:xfrm>
        </p:spPr>
        <p:txBody>
          <a:bodyPr/>
          <a:lstStyle/>
          <a:p>
            <a:r>
              <a:rPr lang="ru-RU" altLang="zh-CN" sz="800" smtClean="0"/>
              <a:t>Изображение использовано с разрешения  </a:t>
            </a:r>
            <a:r>
              <a:rPr lang="en-US" altLang="ru-RU" sz="800" smtClean="0"/>
              <a:t>Global Initiative for Asthma (GINA). </a:t>
            </a:r>
            <a:r>
              <a:rPr lang="ru-RU" altLang="zh-CN" sz="800" smtClean="0"/>
              <a:t>Июнь </a:t>
            </a:r>
            <a:r>
              <a:rPr lang="en-US" altLang="ru-RU" sz="800" smtClean="0"/>
              <a:t>2019.</a:t>
            </a:r>
            <a:r>
              <a:rPr lang="ru-RU" altLang="zh-CN" sz="800" smtClean="0"/>
              <a:t/>
            </a:r>
            <a:br>
              <a:rPr lang="ru-RU" altLang="zh-CN" sz="800" smtClean="0"/>
            </a:br>
            <a:r>
              <a:rPr lang="ru-RU" altLang="zh-CN" sz="800" smtClean="0"/>
              <a:t>ИКС – ингаляционные кортикостероиды, ДДБА – длительнодействующие бета2-агонисты, АЛТР – антагонисты лейкотриеновых рецепторов, ФОР – формотерол, ПКС – пероральные кортикостероиды</a:t>
            </a:r>
            <a:r>
              <a:rPr lang="en-GB" altLang="ru-RU" sz="800" smtClean="0"/>
              <a:t>*</a:t>
            </a:r>
            <a:r>
              <a:rPr lang="ru-RU" altLang="zh-CN" sz="800" smtClean="0"/>
              <a:t>Применение «вне инструкции (</a:t>
            </a:r>
            <a:r>
              <a:rPr lang="en-US" altLang="ru-RU" sz="800" smtClean="0"/>
              <a:t>off-label)</a:t>
            </a:r>
            <a:r>
              <a:rPr lang="ru-RU" altLang="zh-CN" sz="800" smtClean="0"/>
              <a:t>»</a:t>
            </a:r>
            <a:r>
              <a:rPr lang="en-GB" altLang="ru-RU" sz="800" smtClean="0"/>
              <a:t>;</a:t>
            </a:r>
            <a:r>
              <a:rPr lang="ru-RU" altLang="zh-CN" sz="800" smtClean="0"/>
              <a:t> данные только о применении будесонид+формотерол</a:t>
            </a:r>
            <a:r>
              <a:rPr lang="en-GB" altLang="ru-RU" sz="800" smtClean="0"/>
              <a:t>. </a:t>
            </a:r>
            <a:r>
              <a:rPr lang="en-GB" altLang="ru-RU" sz="800" baseline="30000" smtClean="0"/>
              <a:t>†</a:t>
            </a:r>
            <a:r>
              <a:rPr lang="ru-RU" altLang="zh-CN" sz="800" smtClean="0"/>
              <a:t>Применение «вне инструкции»:</a:t>
            </a:r>
            <a:r>
              <a:rPr lang="en-GB" altLang="ru-RU" sz="800" smtClean="0"/>
              <a:t> </a:t>
            </a:r>
            <a:r>
              <a:rPr lang="ru-RU" altLang="zh-CN" sz="800" smtClean="0"/>
              <a:t>отдельное применение или в комбинации ИКС и КДБА ингаляторов</a:t>
            </a:r>
            <a:r>
              <a:rPr lang="en-GB" altLang="ru-RU" sz="800" smtClean="0"/>
              <a:t>. </a:t>
            </a:r>
            <a:r>
              <a:rPr lang="en-GB" altLang="ru-RU" sz="800" baseline="30000" smtClean="0"/>
              <a:t>‡</a:t>
            </a:r>
            <a:r>
              <a:rPr lang="ru-RU" altLang="zh-CN" sz="800" smtClean="0"/>
              <a:t>Рассмотреть применение сублингвальной аллергенспецифической иммунотерапии для пациентов с сенсибилизацией к аллергенам клещей домашней пыли, аллергическим ринитом и ОФВ1</a:t>
            </a:r>
            <a:r>
              <a:rPr lang="en-US" altLang="ru-RU" sz="800" smtClean="0"/>
              <a:t>&lt;</a:t>
            </a:r>
            <a:r>
              <a:rPr lang="ru-RU" altLang="zh-CN" sz="800" smtClean="0"/>
              <a:t> 70% от предполагаемого</a:t>
            </a:r>
            <a:r>
              <a:rPr lang="en-GB" altLang="ru-RU" sz="800" smtClean="0"/>
              <a:t>.</a:t>
            </a:r>
            <a:r>
              <a:rPr lang="en-GB" altLang="ru-RU" sz="800" baseline="30000" smtClean="0"/>
              <a:t> §</a:t>
            </a:r>
            <a:r>
              <a:rPr lang="ru-RU" altLang="zh-CN" sz="800" smtClean="0"/>
              <a:t>ИКС-ФОР  - </a:t>
            </a:r>
            <a:r>
              <a:rPr lang="en-US" altLang="ru-RU" sz="800" smtClean="0"/>
              <a:t> </a:t>
            </a:r>
            <a:r>
              <a:rPr lang="ru-RU" altLang="zh-CN" sz="800" smtClean="0"/>
              <a:t>облегчающий препарат для пациентов, которым назначен будесонид-формотерол или дипропионат беклометазона+формотерол в качестве облегчающих препаратов </a:t>
            </a:r>
            <a:r>
              <a:rPr lang="en-US" altLang="ru-RU" sz="800" smtClean="0"/>
              <a:t>1. Global Initiative for Asthma (GINA). Asthma management and prevention for adults and children older than 5 years: a pocket guide for health professionals. Updated 2019. https://ginasthma.org/pocket-guide-for-asthma-management-and-prevention. </a:t>
            </a:r>
            <a:r>
              <a:rPr lang="ru-RU" altLang="zh-CN" sz="800" smtClean="0"/>
              <a:t>Дата доступа: 25-ОКТ-</a:t>
            </a:r>
            <a:r>
              <a:rPr lang="en-GB" altLang="ru-RU" sz="800" smtClean="0"/>
              <a:t>2019.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297660" y="363538"/>
            <a:ext cx="7464029" cy="741362"/>
          </a:xfrm>
        </p:spPr>
        <p:txBody>
          <a:bodyPr>
            <a:normAutofit fontScale="90000"/>
          </a:bodyPr>
          <a:lstStyle/>
          <a:p>
            <a:pPr fontAlgn="auto"/>
            <a:r>
              <a:rPr lang="ru-RU" noProof="1"/>
              <a:t>Рекомендации </a:t>
            </a:r>
            <a:r>
              <a:rPr noProof="1"/>
              <a:t>GINA </a:t>
            </a:r>
            <a:r>
              <a:rPr b="0" noProof="1"/>
              <a:t>(2019) </a:t>
            </a:r>
            <a:r>
              <a:rPr lang="ru-RU" b="0" noProof="1"/>
              <a:t>предполагают ступенчатый подход к терапии бронхиальной астмы, направленный на достижение контроля заболевания</a:t>
            </a:r>
            <a:r>
              <a:rPr baseline="30000" noProof="1"/>
              <a:t>1</a:t>
            </a:r>
            <a:endParaRPr noProof="1"/>
          </a:p>
        </p:txBody>
      </p:sp>
      <p:sp>
        <p:nvSpPr>
          <p:cNvPr id="67" name="Content Placeholder 1"/>
          <p:cNvSpPr>
            <a:spLocks noGrp="1"/>
          </p:cNvSpPr>
          <p:nvPr>
            <p:ph idx="4294967295"/>
          </p:nvPr>
        </p:nvSpPr>
        <p:spPr>
          <a:xfrm>
            <a:off x="103589" y="2371734"/>
            <a:ext cx="1701403" cy="633413"/>
          </a:xfrm>
        </p:spPr>
        <p:txBody>
          <a:bodyPr>
            <a:normAutofit fontScale="62500" lnSpcReduction="20000"/>
          </a:bodyPr>
          <a:lstStyle/>
          <a:p>
            <a:pPr marL="0" indent="0" fontAlgn="auto">
              <a:spcAft>
                <a:spcPts val="0"/>
              </a:spcAft>
              <a:buSzTx/>
              <a:buFont typeface="Wingdings" pitchFamily="2" charset="2"/>
              <a:buNone/>
            </a:pPr>
            <a:r>
              <a:rPr lang="ru-RU" sz="1400" b="1" noProof="1"/>
              <a:t>Терапевтические опции для лечения астмы</a:t>
            </a:r>
            <a:r>
              <a:rPr lang="en-GB" sz="1400" b="1" noProof="1"/>
              <a:t>:</a:t>
            </a:r>
          </a:p>
          <a:p>
            <a:pPr marL="0" indent="0" fontAlgn="auto">
              <a:spcBef>
                <a:spcPts val="400"/>
              </a:spcBef>
              <a:spcAft>
                <a:spcPts val="0"/>
              </a:spcAft>
              <a:buSzTx/>
              <a:buFont typeface="Wingdings" pitchFamily="2" charset="2"/>
              <a:buNone/>
            </a:pPr>
            <a:r>
              <a:rPr lang="ru-RU" sz="1200" i="1" noProof="1"/>
              <a:t>Адаптировать терапию для индивидуальных потребностей ребенка </a:t>
            </a:r>
            <a:endParaRPr lang="en-GB" sz="1200" i="1" noProof="1"/>
          </a:p>
        </p:txBody>
      </p:sp>
      <p:grpSp>
        <p:nvGrpSpPr>
          <p:cNvPr id="194565" name="Group 3"/>
          <p:cNvGrpSpPr>
            <a:grpSpLocks/>
          </p:cNvGrpSpPr>
          <p:nvPr/>
        </p:nvGrpSpPr>
        <p:grpSpPr bwMode="auto">
          <a:xfrm>
            <a:off x="-104773" y="1884367"/>
            <a:ext cx="8893969" cy="3830003"/>
            <a:chOff x="-140365" y="1884908"/>
            <a:chExt cx="11859393" cy="3829819"/>
          </a:xfrm>
        </p:grpSpPr>
        <p:sp>
          <p:nvSpPr>
            <p:cNvPr id="159" name="Rectangle 14"/>
            <p:cNvSpPr/>
            <p:nvPr/>
          </p:nvSpPr>
          <p:spPr bwMode="auto">
            <a:xfrm>
              <a:off x="19983" y="3813627"/>
              <a:ext cx="1778115" cy="7386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0000"/>
                </a:lnSpc>
                <a:defRPr/>
              </a:pPr>
              <a:r>
                <a:rPr lang="ru-RU" altLang="en-US" sz="1200" dirty="0">
                  <a:solidFill>
                    <a:srgbClr val="988984">
                      <a:lumMod val="50000"/>
                    </a:srgbClr>
                  </a:solidFill>
                  <a:latin typeface="Calibri"/>
                  <a:sym typeface="Arial Italic" charset="0"/>
                </a:rPr>
                <a:t>Для предотвращения обострений и контроля заболевания </a:t>
              </a:r>
              <a:endParaRPr lang="en-GB" altLang="en-US" sz="1200" dirty="0">
                <a:solidFill>
                  <a:srgbClr val="988984">
                    <a:lumMod val="50000"/>
                  </a:srgbClr>
                </a:solidFill>
                <a:latin typeface="Calibri"/>
                <a:sym typeface="Arial Italic" charset="0"/>
              </a:endParaRPr>
            </a:p>
          </p:txBody>
        </p:sp>
        <p:sp>
          <p:nvSpPr>
            <p:cNvPr id="160" name="Rectangle 14"/>
            <p:cNvSpPr/>
            <p:nvPr/>
          </p:nvSpPr>
          <p:spPr bwMode="auto">
            <a:xfrm>
              <a:off x="27921" y="4462884"/>
              <a:ext cx="1695560" cy="554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Другие </a:t>
              </a:r>
            </a:p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нтролирующие</a:t>
              </a:r>
            </a:p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репараты</a:t>
              </a:r>
              <a:endParaRPr lang="en-US" altLang="en-US" sz="1200" dirty="0">
                <a:solidFill>
                  <a:srgbClr val="988984">
                    <a:lumMod val="50000"/>
                  </a:srgbClr>
                </a:solidFill>
                <a:latin typeface="Calibri"/>
                <a:sym typeface="Arial Italic" charset="0"/>
              </a:endParaRPr>
            </a:p>
          </p:txBody>
        </p:sp>
        <p:sp>
          <p:nvSpPr>
            <p:cNvPr id="162" name="Rectangle 14"/>
            <p:cNvSpPr/>
            <p:nvPr/>
          </p:nvSpPr>
          <p:spPr bwMode="auto">
            <a:xfrm>
              <a:off x="208908" y="3354862"/>
              <a:ext cx="1557439" cy="784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Предпочтительные </a:t>
              </a:r>
            </a:p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контролирующие</a:t>
              </a:r>
            </a:p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препараты</a:t>
              </a: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9213791" y="2467492"/>
              <a:ext cx="1168476" cy="176362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10367979" y="1884908"/>
              <a:ext cx="1308185" cy="2339862"/>
            </a:xfrm>
            <a:prstGeom prst="rect">
              <a:avLst/>
            </a:prstGeom>
            <a:solidFill>
              <a:srgbClr val="E28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7845277" y="2819900"/>
              <a:ext cx="1378039" cy="139852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10374329" y="4215246"/>
              <a:ext cx="1301834" cy="1060399"/>
            </a:xfrm>
            <a:prstGeom prst="rect">
              <a:avLst/>
            </a:prstGeom>
            <a:solidFill>
              <a:srgbClr val="E287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2863380" y="3102461"/>
              <a:ext cx="4994598" cy="110643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2863380" y="4208896"/>
              <a:ext cx="4994598" cy="106674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94575" name="Group 168"/>
            <p:cNvGrpSpPr>
              <a:grpSpLocks/>
            </p:cNvGrpSpPr>
            <p:nvPr/>
          </p:nvGrpSpPr>
          <p:grpSpPr bwMode="auto">
            <a:xfrm>
              <a:off x="1830607" y="3301103"/>
              <a:ext cx="1037469" cy="917435"/>
              <a:chOff x="2534249" y="2891674"/>
              <a:chExt cx="902524" cy="973331"/>
            </a:xfrm>
          </p:grpSpPr>
          <p:sp>
            <p:nvSpPr>
              <p:cNvPr id="170" name="Rectangle 169"/>
              <p:cNvSpPr/>
              <p:nvPr/>
            </p:nvSpPr>
            <p:spPr>
              <a:xfrm>
                <a:off x="2533591" y="2891448"/>
                <a:ext cx="903240" cy="973433"/>
              </a:xfrm>
              <a:prstGeom prst="rect">
                <a:avLst/>
              </a:prstGeom>
              <a:pattFill prst="wdUpDiag">
                <a:fgClr>
                  <a:schemeClr val="accent6">
                    <a:lumMod val="40000"/>
                    <a:lumOff val="60000"/>
                  </a:schemeClr>
                </a:fgClr>
                <a:bgClr>
                  <a:schemeClr val="accent3">
                    <a:lumMod val="20000"/>
                    <a:lumOff val="80000"/>
                  </a:schemeClr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GB" sz="16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1" name="Content Placeholder 34"/>
              <p:cNvSpPr txBox="1"/>
              <p:nvPr/>
            </p:nvSpPr>
            <p:spPr>
              <a:xfrm>
                <a:off x="2536353" y="2972287"/>
                <a:ext cx="899096" cy="213885"/>
              </a:xfrm>
              <a:prstGeom prst="rect">
                <a:avLst/>
              </a:prstGeom>
            </p:spPr>
            <p:txBody>
              <a:bodyPr lIns="0" tIns="0" rIns="0" bIns="0"/>
              <a:lstStyle>
                <a:defPPr>
                  <a:defRPr lang="nl-BE"/>
                </a:defPPr>
                <a:lvl1pPr indent="0" algn="r">
                  <a:lnSpc>
                    <a:spcPct val="85000"/>
                  </a:lnSpc>
                  <a:spcBef>
                    <a:spcPts val="0"/>
                  </a:spcBef>
                  <a:buFont typeface="Arial" panose="02080604020202020204" pitchFamily="34" charset="0"/>
                  <a:buNone/>
                  <a:defRPr sz="1400" b="1">
                    <a:solidFill>
                      <a:schemeClr val="accent2">
                        <a:lumMod val="75000"/>
                      </a:schemeClr>
                    </a:solidFill>
                  </a:defRPr>
                </a:lvl1pPr>
                <a:lvl2pPr marL="180975" indent="-180975">
                  <a:lnSpc>
                    <a:spcPct val="90000"/>
                  </a:lnSpc>
                  <a:spcBef>
                    <a:spcPts val="1000"/>
                  </a:spcBef>
                  <a:buClrTx/>
                  <a:buFont typeface="Arial" panose="02080604020202020204" pitchFamily="34" charset="0"/>
                  <a:buChar char="•"/>
                  <a:defRPr>
                    <a:solidFill>
                      <a:schemeClr val="accent2">
                        <a:lumMod val="75000"/>
                      </a:schemeClr>
                    </a:solidFill>
                  </a:defRPr>
                </a:lvl2pPr>
                <a:lvl3pPr marL="361950" indent="-180975"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Font typeface="Calibri" panose="020F0502020204030204" pitchFamily="34" charset="0"/>
                  <a:buChar char="‒"/>
                  <a:defRPr sz="1600">
                    <a:solidFill>
                      <a:schemeClr val="accent2">
                        <a:lumMod val="75000"/>
                      </a:schemeClr>
                    </a:solidFill>
                  </a:defRPr>
                </a:lvl3pPr>
                <a:lvl4pPr marL="533400" indent="-160655">
                  <a:lnSpc>
                    <a:spcPct val="90000"/>
                  </a:lnSpc>
                  <a:spcBef>
                    <a:spcPts val="400"/>
                  </a:spcBef>
                  <a:buSzPct val="118000"/>
                  <a:buFont typeface="Arial" panose="02080604020202020204" pitchFamily="34" charset="0"/>
                  <a:buChar char="•"/>
                  <a:defRPr sz="1400">
                    <a:solidFill>
                      <a:schemeClr val="accent2">
                        <a:lumMod val="75000"/>
                      </a:schemeClr>
                    </a:solidFill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9pPr>
              </a:lstStyle>
              <a:p>
                <a:pPr algn="ctr">
                  <a:lnSpc>
                    <a:spcPct val="80000"/>
                  </a:lnSpc>
                  <a:defRPr/>
                </a:pPr>
                <a:r>
                  <a:rPr lang="ru-RU" sz="1800" b="0" kern="0" dirty="0">
                    <a:solidFill>
                      <a:srgbClr val="005B71"/>
                    </a:solidFill>
                    <a:latin typeface="Impact" panose="020B0806030902050204" pitchFamily="34" charset="0"/>
                  </a:rPr>
                  <a:t>СТУПЕНЬ</a:t>
                </a:r>
                <a:r>
                  <a:rPr lang="en-GB" sz="1800" b="0" kern="0" dirty="0">
                    <a:solidFill>
                      <a:srgbClr val="005B71"/>
                    </a:solidFill>
                    <a:latin typeface="Impact" panose="020B0806030902050204" pitchFamily="34" charset="0"/>
                  </a:rPr>
                  <a:t> 1</a:t>
                </a:r>
              </a:p>
            </p:txBody>
          </p:sp>
        </p:grpSp>
        <p:sp>
          <p:nvSpPr>
            <p:cNvPr id="172" name="Content Placeholder 34"/>
            <p:cNvSpPr txBox="1"/>
            <p:nvPr/>
          </p:nvSpPr>
          <p:spPr>
            <a:xfrm>
              <a:off x="2869730" y="3338988"/>
              <a:ext cx="4972372" cy="207952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2</a:t>
              </a:r>
            </a:p>
          </p:txBody>
        </p:sp>
        <p:sp>
          <p:nvSpPr>
            <p:cNvPr id="173" name="Content Placeholder 34"/>
            <p:cNvSpPr txBox="1"/>
            <p:nvPr/>
          </p:nvSpPr>
          <p:spPr>
            <a:xfrm>
              <a:off x="2852267" y="3672347"/>
              <a:ext cx="4985073" cy="268274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Низкие дозы ИКС ежедневно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(см. таблицу эквипотентных доз ИКС для детей)</a:t>
              </a:r>
              <a:endParaRPr lang="en-GB" b="0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1834613" y="4215246"/>
              <a:ext cx="1044643" cy="1065161"/>
            </a:xfrm>
            <a:prstGeom prst="rect">
              <a:avLst/>
            </a:prstGeom>
            <a:pattFill prst="wdUpDiag">
              <a:fgClr>
                <a:schemeClr val="accent6">
                  <a:lumMod val="40000"/>
                  <a:lumOff val="60000"/>
                </a:schemeClr>
              </a:fgClr>
              <a:bgClr>
                <a:schemeClr val="accent3">
                  <a:lumMod val="20000"/>
                  <a:lumOff val="80000"/>
                </a:schemeClr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5" name="Content Placeholder 34"/>
            <p:cNvSpPr txBox="1"/>
            <p:nvPr/>
          </p:nvSpPr>
          <p:spPr>
            <a:xfrm>
              <a:off x="1923519" y="4237470"/>
              <a:ext cx="831905" cy="1477257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Низкие дозы ИКС при приеме КДБА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† 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ли низкие дозы ИКС ежедневно</a:t>
              </a:r>
              <a:endParaRPr lang="en-GB" sz="1200" b="0" i="1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76" name="Content Placeholder 34"/>
            <p:cNvSpPr txBox="1"/>
            <p:nvPr/>
          </p:nvSpPr>
          <p:spPr>
            <a:xfrm>
              <a:off x="3025000" y="4588290"/>
              <a:ext cx="4661835" cy="29545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нтагонисты </a:t>
              </a:r>
              <a:r>
                <a:rPr lang="ru-RU" sz="1200" b="0" i="1" kern="0" dirty="0" err="1">
                  <a:solidFill>
                    <a:srgbClr val="005B71"/>
                  </a:solidFill>
                  <a:latin typeface="Calibri"/>
                </a:rPr>
                <a:t>лейкотриеновых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 рецепторов 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(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ЛТР)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,</a:t>
              </a:r>
              <a:br>
                <a:rPr lang="en-GB" sz="1200" b="0" i="1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ли низкие дозы ИКС при приеме КДБА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†</a:t>
              </a:r>
            </a:p>
          </p:txBody>
        </p:sp>
        <p:cxnSp>
          <p:nvCxnSpPr>
            <p:cNvPr id="180" name="Straight Connector 179"/>
            <p:cNvCxnSpPr/>
            <p:nvPr/>
          </p:nvCxnSpPr>
          <p:spPr>
            <a:xfrm>
              <a:off x="2874493" y="3092937"/>
              <a:ext cx="0" cy="2176358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sp>
          <p:nvSpPr>
            <p:cNvPr id="181" name="Rectangle 180"/>
            <p:cNvSpPr/>
            <p:nvPr/>
          </p:nvSpPr>
          <p:spPr>
            <a:xfrm>
              <a:off x="9180452" y="4215246"/>
              <a:ext cx="1198640" cy="1060399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9213791" y="4423198"/>
              <a:ext cx="1168476" cy="1098709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5000"/>
                </a:lnSpc>
                <a:defRPr/>
              </a:pP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Высокие дозы ИКС-ДДБА, дополнительно </a:t>
              </a:r>
              <a:r>
                <a:rPr lang="ru-RU" sz="1200" i="1" kern="0" dirty="0" err="1">
                  <a:solidFill>
                    <a:srgbClr val="005B71"/>
                  </a:solidFill>
                  <a:latin typeface="Calibri"/>
                </a:rPr>
                <a:t>тиотропий</a:t>
              </a: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 или АЛТР</a:t>
              </a:r>
              <a:endParaRPr lang="en-GB" sz="1200" i="1" kern="0" baseline="3000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10501337" y="4254931"/>
              <a:ext cx="1058931" cy="1294908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5000"/>
                </a:lnSpc>
                <a:defRPr/>
              </a:pPr>
              <a:r>
                <a:rPr lang="ru-RU" sz="1100" i="1" kern="0" dirty="0">
                  <a:solidFill>
                    <a:srgbClr val="005B71"/>
                  </a:solidFill>
                  <a:latin typeface="Calibri"/>
                </a:rPr>
                <a:t>Добавить анти</a:t>
              </a:r>
              <a:r>
                <a:rPr lang="en-US" sz="1100" i="1" kern="0" dirty="0">
                  <a:solidFill>
                    <a:srgbClr val="005B71"/>
                  </a:solidFill>
                  <a:latin typeface="Calibri"/>
                </a:rPr>
                <a:t>-</a:t>
              </a:r>
              <a:r>
                <a:rPr lang="ru-RU" sz="1100" i="1" kern="0" dirty="0">
                  <a:solidFill>
                    <a:srgbClr val="005B71"/>
                  </a:solidFill>
                  <a:latin typeface="Calibri"/>
                </a:rPr>
                <a:t>ИЛ</a:t>
              </a:r>
              <a:r>
                <a:rPr lang="en-US" sz="1100" i="1" kern="0" dirty="0">
                  <a:solidFill>
                    <a:srgbClr val="005B71"/>
                  </a:solidFill>
                  <a:latin typeface="Calibri"/>
                </a:rPr>
                <a:t>5</a:t>
              </a:r>
              <a:r>
                <a:rPr lang="ru-RU" sz="1100" i="1" kern="0" dirty="0">
                  <a:solidFill>
                    <a:srgbClr val="005B71"/>
                  </a:solidFill>
                  <a:latin typeface="Calibri"/>
                </a:rPr>
                <a:t> или</a:t>
              </a:r>
              <a:r>
                <a:rPr lang="ru-RU" sz="1100" kern="0" dirty="0">
                  <a:solidFill>
                    <a:srgbClr val="005B71"/>
                  </a:solidFill>
                  <a:latin typeface="Calibri"/>
                </a:rPr>
                <a:t> </a:t>
              </a:r>
              <a:r>
                <a:rPr lang="ru-RU" sz="1100" i="1" kern="0" dirty="0">
                  <a:solidFill>
                    <a:srgbClr val="005B71"/>
                  </a:solidFill>
                  <a:latin typeface="Calibri"/>
                </a:rPr>
                <a:t>низкие дозы </a:t>
              </a:r>
            </a:p>
            <a:p>
              <a:pPr algn="ctr">
                <a:lnSpc>
                  <a:spcPct val="85000"/>
                </a:lnSpc>
                <a:defRPr/>
              </a:pPr>
              <a:r>
                <a:rPr lang="ru-RU" sz="1100" i="1" kern="0" dirty="0">
                  <a:solidFill>
                    <a:srgbClr val="005B71"/>
                  </a:solidFill>
                  <a:latin typeface="Calibri"/>
                </a:rPr>
                <a:t>ПКС, но учесть возможные побочные эффекты</a:t>
              </a:r>
              <a:endParaRPr lang="en-GB" sz="1100" i="1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7845277" y="4207308"/>
              <a:ext cx="1384390" cy="106833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10345752" y="2600836"/>
              <a:ext cx="1373276" cy="1360307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600"/>
                </a:spcBef>
                <a:defRPr/>
              </a:pP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Произвести оценку  фенотипа 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±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 поддерживающая терапия: </a:t>
              </a:r>
            </a:p>
            <a:p>
              <a:pPr algn="ctr">
                <a:lnSpc>
                  <a:spcPct val="80000"/>
                </a:lnSpc>
                <a:spcBef>
                  <a:spcPts val="600"/>
                </a:spcBef>
                <a:defRPr/>
              </a:pPr>
              <a:endParaRPr lang="ru-RU" sz="1200" kern="0" dirty="0">
                <a:solidFill>
                  <a:srgbClr val="005B71"/>
                </a:solidFill>
                <a:latin typeface="Calibri"/>
              </a:endParaRPr>
            </a:p>
            <a:p>
              <a:pPr algn="ctr">
                <a:lnSpc>
                  <a:spcPct val="80000"/>
                </a:lnSpc>
                <a:spcBef>
                  <a:spcPts val="600"/>
                </a:spcBef>
                <a:defRPr/>
              </a:pP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например,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US" sz="120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400" b="1" kern="0" dirty="0">
                  <a:solidFill>
                    <a:srgbClr val="005B71"/>
                  </a:solidFill>
                  <a:latin typeface="Calibri"/>
                </a:rPr>
                <a:t>анти</a:t>
              </a:r>
              <a:r>
                <a:rPr lang="en-US" sz="1400" b="1" kern="0" dirty="0">
                  <a:solidFill>
                    <a:srgbClr val="005B71"/>
                  </a:solidFill>
                  <a:latin typeface="Calibri"/>
                </a:rPr>
                <a:t>-IgE</a:t>
              </a:r>
              <a:endParaRPr lang="en-US" sz="1200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86" name="Content Placeholder 34"/>
            <p:cNvSpPr txBox="1"/>
            <p:nvPr/>
          </p:nvSpPr>
          <p:spPr>
            <a:xfrm>
              <a:off x="7874154" y="3131035"/>
              <a:ext cx="1305998" cy="2215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3</a:t>
              </a:r>
            </a:p>
          </p:txBody>
        </p:sp>
        <p:sp>
          <p:nvSpPr>
            <p:cNvPr id="187" name="Content Placeholder 34"/>
            <p:cNvSpPr txBox="1"/>
            <p:nvPr/>
          </p:nvSpPr>
          <p:spPr>
            <a:xfrm>
              <a:off x="9148511" y="2624647"/>
              <a:ext cx="1297448" cy="2215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 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4</a:t>
              </a:r>
            </a:p>
          </p:txBody>
        </p:sp>
        <p:sp>
          <p:nvSpPr>
            <p:cNvPr id="188" name="Content Placeholder 34"/>
            <p:cNvSpPr txBox="1"/>
            <p:nvPr/>
          </p:nvSpPr>
          <p:spPr>
            <a:xfrm>
              <a:off x="10385468" y="1967454"/>
              <a:ext cx="1308135" cy="221588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5</a:t>
              </a:r>
            </a:p>
          </p:txBody>
        </p:sp>
        <p:sp>
          <p:nvSpPr>
            <p:cNvPr id="189" name="Content Placeholder 34"/>
            <p:cNvSpPr txBox="1"/>
            <p:nvPr/>
          </p:nvSpPr>
          <p:spPr>
            <a:xfrm>
              <a:off x="7975684" y="4513682"/>
              <a:ext cx="1102939" cy="29545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Низкие дозы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sz="1200" b="0" i="1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КС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+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ЛТР</a:t>
              </a:r>
              <a:r>
                <a:rPr lang="en-GB" sz="1200" b="0" i="1" kern="0" baseline="30000" dirty="0">
                  <a:solidFill>
                    <a:srgbClr val="005B71"/>
                  </a:solidFill>
                  <a:latin typeface="Calibri"/>
                </a:rPr>
                <a:t>‡</a:t>
              </a:r>
            </a:p>
          </p:txBody>
        </p:sp>
        <p:sp>
          <p:nvSpPr>
            <p:cNvPr id="190" name="Content Placeholder 34"/>
            <p:cNvSpPr txBox="1"/>
            <p:nvPr/>
          </p:nvSpPr>
          <p:spPr>
            <a:xfrm>
              <a:off x="7781773" y="3499317"/>
              <a:ext cx="1490760" cy="353996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Низкие дозы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b="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ИКС-ДДБА или средние дозы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b="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ИКС</a:t>
              </a:r>
              <a:endParaRPr lang="en-GB" b="0" kern="0" baseline="3000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91" name="Content Placeholder 34"/>
            <p:cNvSpPr txBox="1"/>
            <p:nvPr/>
          </p:nvSpPr>
          <p:spPr>
            <a:xfrm>
              <a:off x="9186802" y="3499317"/>
              <a:ext cx="1222454" cy="35558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Средние дозы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b="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ИКС-ДДБА Отправить к специалисту</a:t>
              </a:r>
              <a:endParaRPr lang="ru-RU" b="0" kern="0" baseline="30000" dirty="0">
                <a:solidFill>
                  <a:srgbClr val="005B71"/>
                </a:solidFill>
                <a:latin typeface="Calibri"/>
              </a:endParaRPr>
            </a:p>
          </p:txBody>
        </p:sp>
        <p:cxnSp>
          <p:nvCxnSpPr>
            <p:cNvPr id="195" name="Straight Connector 194"/>
            <p:cNvCxnSpPr/>
            <p:nvPr/>
          </p:nvCxnSpPr>
          <p:spPr>
            <a:xfrm>
              <a:off x="10380679" y="1884908"/>
              <a:ext cx="15876" cy="3355814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6" name="Straight Connector 195"/>
            <p:cNvCxnSpPr/>
            <p:nvPr/>
          </p:nvCxnSpPr>
          <p:spPr>
            <a:xfrm>
              <a:off x="2864968" y="5267707"/>
              <a:ext cx="8785794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7" name="Straight Connector 196"/>
            <p:cNvCxnSpPr/>
            <p:nvPr/>
          </p:nvCxnSpPr>
          <p:spPr>
            <a:xfrm>
              <a:off x="2885606" y="4213658"/>
              <a:ext cx="8790557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8" name="Straight Connector 197"/>
            <p:cNvCxnSpPr/>
            <p:nvPr/>
          </p:nvCxnSpPr>
          <p:spPr>
            <a:xfrm flipH="1">
              <a:off x="7837340" y="2819900"/>
              <a:ext cx="11113" cy="2706558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9" name="Straight Connector 198"/>
            <p:cNvCxnSpPr/>
            <p:nvPr/>
          </p:nvCxnSpPr>
          <p:spPr>
            <a:xfrm>
              <a:off x="9221729" y="2469080"/>
              <a:ext cx="0" cy="2762117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sp>
          <p:nvSpPr>
            <p:cNvPr id="200" name="Rectangle 15"/>
            <p:cNvSpPr/>
            <p:nvPr/>
          </p:nvSpPr>
          <p:spPr bwMode="auto">
            <a:xfrm>
              <a:off x="-140365" y="5226434"/>
              <a:ext cx="1846383" cy="314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 err="1">
                  <a:solidFill>
                    <a:srgbClr val="44C8F5">
                      <a:lumMod val="50000"/>
                    </a:srgbClr>
                  </a:solidFill>
                  <a:latin typeface="Calibri"/>
                  <a:sym typeface="Arial Bold" charset="0"/>
                </a:rPr>
                <a:t>Скоропомощные</a:t>
              </a:r>
              <a:r>
                <a:rPr lang="ru-RU" altLang="en-US" sz="1200" b="1" dirty="0">
                  <a:solidFill>
                    <a:srgbClr val="44C8F5">
                      <a:lumMod val="50000"/>
                    </a:srgbClr>
                  </a:solidFill>
                  <a:latin typeface="Calibri"/>
                  <a:sym typeface="Arial Bold" charset="0"/>
                </a:rPr>
                <a:t> препараты</a:t>
              </a:r>
              <a:endParaRPr lang="en-US" altLang="en-US" sz="1200" b="1" dirty="0">
                <a:solidFill>
                  <a:srgbClr val="44C8F5">
                    <a:lumMod val="50000"/>
                  </a:srgbClr>
                </a:solidFill>
                <a:latin typeface="Calibri"/>
                <a:sym typeface="Arial Bold" charset="0"/>
              </a:endParaRPr>
            </a:p>
          </p:txBody>
        </p:sp>
        <p:sp>
          <p:nvSpPr>
            <p:cNvPr id="201" name="Content Placeholder 34"/>
            <p:cNvSpPr txBox="1"/>
            <p:nvPr/>
          </p:nvSpPr>
          <p:spPr>
            <a:xfrm>
              <a:off x="1810799" y="3667584"/>
              <a:ext cx="1065281" cy="506389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endParaRPr lang="ru-RU" sz="1200" b="0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1829851" y="5267707"/>
              <a:ext cx="9846313" cy="319073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3" name="Content Placeholder 34"/>
            <p:cNvSpPr txBox="1"/>
            <p:nvPr/>
          </p:nvSpPr>
          <p:spPr>
            <a:xfrm>
              <a:off x="3903260" y="5374065"/>
              <a:ext cx="6029715" cy="152393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ротко-действующие бета-2-агонисты (КДБА) по потребности</a:t>
              </a:r>
            </a:p>
          </p:txBody>
        </p:sp>
        <p:cxnSp>
          <p:nvCxnSpPr>
            <p:cNvPr id="204" name="Straight Connector 203"/>
            <p:cNvCxnSpPr/>
            <p:nvPr/>
          </p:nvCxnSpPr>
          <p:spPr>
            <a:xfrm flipH="1">
              <a:off x="2874493" y="3097700"/>
              <a:ext cx="4983485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6" name="Straight Connector 205"/>
            <p:cNvCxnSpPr/>
            <p:nvPr/>
          </p:nvCxnSpPr>
          <p:spPr>
            <a:xfrm flipH="1">
              <a:off x="9221729" y="2477017"/>
              <a:ext cx="1127198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7" name="Straight Connector 206"/>
            <p:cNvCxnSpPr/>
            <p:nvPr/>
          </p:nvCxnSpPr>
          <p:spPr>
            <a:xfrm flipH="1">
              <a:off x="10371154" y="1888083"/>
              <a:ext cx="1298659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9" name="Straight Connector 208"/>
            <p:cNvCxnSpPr/>
            <p:nvPr/>
          </p:nvCxnSpPr>
          <p:spPr>
            <a:xfrm>
              <a:off x="1837788" y="5586780"/>
              <a:ext cx="9838375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grpSp>
          <p:nvGrpSpPr>
            <p:cNvPr id="194608" name="Group 209"/>
            <p:cNvGrpSpPr>
              <a:grpSpLocks/>
            </p:cNvGrpSpPr>
            <p:nvPr/>
          </p:nvGrpSpPr>
          <p:grpSpPr bwMode="auto">
            <a:xfrm>
              <a:off x="1829900" y="4213777"/>
              <a:ext cx="9823938" cy="1365044"/>
              <a:chOff x="1817370" y="4213777"/>
              <a:chExt cx="84027249" cy="1365044"/>
            </a:xfrm>
          </p:grpSpPr>
          <p:cxnSp>
            <p:nvCxnSpPr>
              <p:cNvPr id="211" name="Straight Connector 210"/>
              <p:cNvCxnSpPr/>
              <p:nvPr/>
            </p:nvCxnSpPr>
            <p:spPr>
              <a:xfrm>
                <a:off x="1816951" y="5267707"/>
                <a:ext cx="8812941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2" name="Straight Connector 211"/>
              <p:cNvCxnSpPr/>
              <p:nvPr/>
            </p:nvCxnSpPr>
            <p:spPr>
              <a:xfrm>
                <a:off x="1844109" y="4213658"/>
                <a:ext cx="8785783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3" name="Straight Connector 212"/>
              <p:cNvCxnSpPr/>
              <p:nvPr/>
            </p:nvCxnSpPr>
            <p:spPr>
              <a:xfrm>
                <a:off x="1816951" y="5578842"/>
                <a:ext cx="84028515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215" name="Straight Connector 214"/>
            <p:cNvCxnSpPr/>
            <p:nvPr/>
          </p:nvCxnSpPr>
          <p:spPr>
            <a:xfrm flipH="1">
              <a:off x="7857978" y="2819900"/>
              <a:ext cx="1365338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>
            <a:xfrm flipH="1">
              <a:off x="11665050" y="1908719"/>
              <a:ext cx="1588" cy="3670124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</p:grpSp>
      <p:sp>
        <p:nvSpPr>
          <p:cNvPr id="69" name="Content Placeholder 1"/>
          <p:cNvSpPr txBox="1"/>
          <p:nvPr/>
        </p:nvSpPr>
        <p:spPr>
          <a:xfrm>
            <a:off x="253604" y="1522413"/>
            <a:ext cx="1952625" cy="685800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80604020202020204" pitchFamily="34" charset="0"/>
              <a:buNone/>
              <a:defRPr sz="20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Calibri" panose="020F0502020204030204" pitchFamily="34" charset="0"/>
              <a:buChar char="‒"/>
              <a:defRPr sz="1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3400" indent="-160655" algn="l" defTabSz="914400" rtl="0" eaLnBrk="1" latinLnBrk="0" hangingPunct="1">
              <a:lnSpc>
                <a:spcPct val="90000"/>
              </a:lnSpc>
              <a:spcBef>
                <a:spcPts val="400"/>
              </a:spcBef>
              <a:buSzPct val="118000"/>
              <a:buFont typeface="Calibri" panose="020F0502020204030204" pitchFamily="34" charset="0"/>
              <a:buChar char="‐"/>
              <a:defRPr sz="14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400" b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Персонализированный подход к пациенту с бронхиальной астмой</a:t>
            </a:r>
            <a:r>
              <a:rPr lang="en-GB" sz="1400" b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:</a:t>
            </a:r>
          </a:p>
          <a:p>
            <a:pPr>
              <a:spcBef>
                <a:spcPts val="400"/>
              </a:spcBef>
              <a:defRPr/>
            </a:pPr>
            <a:r>
              <a:rPr lang="ru-RU" sz="1200" i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Оценить, корректировать, </a:t>
            </a:r>
          </a:p>
          <a:p>
            <a:pPr>
              <a:spcBef>
                <a:spcPts val="400"/>
              </a:spcBef>
              <a:defRPr/>
            </a:pPr>
            <a:r>
              <a:rPr lang="ru-RU" sz="1200" i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проверить ответ</a:t>
            </a:r>
            <a:endParaRPr lang="en-GB" sz="1200" i="1" dirty="0">
              <a:solidFill>
                <a:srgbClr val="988984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70" name="Content Placeholder 1"/>
          <p:cNvSpPr txBox="1"/>
          <p:nvPr/>
        </p:nvSpPr>
        <p:spPr>
          <a:xfrm>
            <a:off x="239317" y="1200150"/>
            <a:ext cx="2338388" cy="3111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80604020202020204" pitchFamily="34" charset="0"/>
              <a:buNone/>
              <a:defRPr sz="20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Calibri" panose="020F0502020204030204" pitchFamily="34" charset="0"/>
              <a:buChar char="‒"/>
              <a:defRPr sz="1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3400" indent="-160655" algn="l" defTabSz="914400" rtl="0" eaLnBrk="1" latinLnBrk="0" hangingPunct="1">
              <a:lnSpc>
                <a:spcPct val="90000"/>
              </a:lnSpc>
              <a:spcBef>
                <a:spcPts val="400"/>
              </a:spcBef>
              <a:buSzPct val="118000"/>
              <a:buFont typeface="Calibri" panose="020F0502020204030204" pitchFamily="34" charset="0"/>
              <a:buChar char="‐"/>
              <a:defRPr sz="14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800" b="1" dirty="0">
                <a:solidFill>
                  <a:srgbClr val="FF0000"/>
                </a:solidFill>
                <a:latin typeface="Calibri"/>
              </a:rPr>
              <a:t>Дети 6-11 лет</a:t>
            </a:r>
            <a:endParaRPr lang="en-GB" sz="1800" b="1" dirty="0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194616" name="Group 11"/>
          <p:cNvGrpSpPr>
            <a:grpSpLocks/>
          </p:cNvGrpSpPr>
          <p:nvPr/>
        </p:nvGrpSpPr>
        <p:grpSpPr bwMode="auto">
          <a:xfrm>
            <a:off x="2515793" y="1071563"/>
            <a:ext cx="3857625" cy="1998662"/>
            <a:chOff x="3436997" y="1123217"/>
            <a:chExt cx="5143878" cy="1998655"/>
          </a:xfrm>
        </p:grpSpPr>
        <p:grpSp>
          <p:nvGrpSpPr>
            <p:cNvPr id="194617" name="Group 72"/>
            <p:cNvGrpSpPr>
              <a:grpSpLocks/>
            </p:cNvGrpSpPr>
            <p:nvPr/>
          </p:nvGrpSpPr>
          <p:grpSpPr bwMode="auto">
            <a:xfrm>
              <a:off x="4709441" y="1123217"/>
              <a:ext cx="1369803" cy="1365174"/>
              <a:chOff x="4812732" y="1295120"/>
              <a:chExt cx="1835205" cy="1848515"/>
            </a:xfrm>
          </p:grpSpPr>
          <p:grpSp>
            <p:nvGrpSpPr>
              <p:cNvPr id="194618" name="Group 73"/>
              <p:cNvGrpSpPr>
                <a:grpSpLocks/>
              </p:cNvGrpSpPr>
              <p:nvPr/>
            </p:nvGrpSpPr>
            <p:grpSpPr bwMode="auto">
              <a:xfrm>
                <a:off x="4812732" y="1295120"/>
                <a:ext cx="1835205" cy="1848515"/>
                <a:chOff x="5148308" y="1242079"/>
                <a:chExt cx="1820384" cy="1833586"/>
              </a:xfrm>
            </p:grpSpPr>
            <p:sp>
              <p:nvSpPr>
                <p:cNvPr id="78" name="Block Arc 77"/>
                <p:cNvSpPr/>
                <p:nvPr/>
              </p:nvSpPr>
              <p:spPr>
                <a:xfrm>
                  <a:off x="5147294" y="1254872"/>
                  <a:ext cx="1820797" cy="1820888"/>
                </a:xfrm>
                <a:prstGeom prst="blockArc">
                  <a:avLst>
                    <a:gd name="adj1" fmla="val 9319573"/>
                    <a:gd name="adj2" fmla="val 16144205"/>
                    <a:gd name="adj3" fmla="val 21393"/>
                  </a:avLst>
                </a:prstGeom>
                <a:solidFill>
                  <a:srgbClr val="4A7097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79" name="Block Arc 78"/>
                <p:cNvSpPr/>
                <p:nvPr/>
              </p:nvSpPr>
              <p:spPr>
                <a:xfrm rot="8154758">
                  <a:off x="5147294" y="1254872"/>
                  <a:ext cx="1820797" cy="1820888"/>
                </a:xfrm>
                <a:prstGeom prst="blockArc">
                  <a:avLst>
                    <a:gd name="adj1" fmla="val 7996003"/>
                    <a:gd name="adj2" fmla="val 16144205"/>
                    <a:gd name="adj3" fmla="val 21393"/>
                  </a:avLst>
                </a:prstGeom>
                <a:solidFill>
                  <a:schemeClr val="accent3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80" name="Block Arc 79"/>
                <p:cNvSpPr/>
                <p:nvPr/>
              </p:nvSpPr>
              <p:spPr>
                <a:xfrm rot="14400000">
                  <a:off x="5147248" y="1254918"/>
                  <a:ext cx="1820888" cy="1820797"/>
                </a:xfrm>
                <a:prstGeom prst="blockArc">
                  <a:avLst>
                    <a:gd name="adj1" fmla="val 9892982"/>
                    <a:gd name="adj2" fmla="val 16502855"/>
                    <a:gd name="adj3" fmla="val 21348"/>
                  </a:avLst>
                </a:prstGeom>
                <a:solidFill>
                  <a:srgbClr val="FF99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81" name="Isosceles Triangle 80"/>
                <p:cNvSpPr/>
                <p:nvPr/>
              </p:nvSpPr>
              <p:spPr>
                <a:xfrm rot="5400000">
                  <a:off x="5916275" y="1367672"/>
                  <a:ext cx="413644" cy="162459"/>
                </a:xfrm>
                <a:prstGeom prst="triangle">
                  <a:avLst/>
                </a:prstGeom>
                <a:solidFill>
                  <a:srgbClr val="4A7097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82" name="Isosceles Triangle 81"/>
                <p:cNvSpPr/>
                <p:nvPr/>
              </p:nvSpPr>
              <p:spPr>
                <a:xfrm rot="13525927">
                  <a:off x="6305542" y="2645907"/>
                  <a:ext cx="413644" cy="160348"/>
                </a:xfrm>
                <a:prstGeom prst="triangle">
                  <a:avLst/>
                </a:prstGeom>
                <a:solidFill>
                  <a:schemeClr val="accent3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83" name="Isosceles Triangle 82"/>
                <p:cNvSpPr/>
                <p:nvPr/>
              </p:nvSpPr>
              <p:spPr>
                <a:xfrm rot="20140691">
                  <a:off x="5168392" y="2314569"/>
                  <a:ext cx="413530" cy="162046"/>
                </a:xfrm>
                <a:prstGeom prst="triangle">
                  <a:avLst/>
                </a:prstGeom>
                <a:solidFill>
                  <a:srgbClr val="FF9900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5" name="Rectangle 74"/>
              <p:cNvSpPr/>
              <p:nvPr/>
            </p:nvSpPr>
            <p:spPr>
              <a:xfrm rot="992410">
                <a:off x="4953542" y="1753640"/>
                <a:ext cx="1484853" cy="1197112"/>
              </a:xfrm>
              <a:prstGeom prst="rect">
                <a:avLst/>
              </a:prstGeom>
              <a:noFill/>
            </p:spPr>
            <p:txBody>
              <a:bodyPr spcFirstLastPara="1" wrap="none">
                <a:prstTxWarp prst="textArchDown">
                  <a:avLst>
                    <a:gd name="adj" fmla="val 1493585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ea typeface="MS PGothic" charset="0"/>
                    <a:cs typeface="Arial"/>
                  </a:rPr>
                  <a:t>Корректировать</a:t>
                </a:r>
                <a:endParaRPr lang="en-US" sz="900" b="1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>
              <a:xfrm rot="18616622">
                <a:off x="4975999" y="1513386"/>
                <a:ext cx="1453794" cy="133168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spcFirstLastPara="1" wrap="none">
                <a:prstTxWarp prst="textArchUp">
                  <a:avLst>
                    <a:gd name="adj" fmla="val 5525375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kern="0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cs typeface="Arial"/>
                  </a:rPr>
                  <a:t>Проверить ответ</a:t>
                </a:r>
                <a:endParaRPr lang="en-AU" sz="900" b="1" kern="0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 rot="4782751">
                <a:off x="5068198" y="1557966"/>
                <a:ext cx="1365264" cy="133168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spcFirstLastPara="1" wrap="none">
                <a:prstTxWarp prst="textArchUp">
                  <a:avLst>
                    <a:gd name="adj" fmla="val 5457498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kern="0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cs typeface="Arial"/>
                  </a:rPr>
                  <a:t>Оценить</a:t>
                </a:r>
                <a:endParaRPr lang="en-AU" sz="900" b="1" kern="0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</p:grpSp>
        <p:cxnSp>
          <p:nvCxnSpPr>
            <p:cNvPr id="194628" name="Straight Arrow Connector 83"/>
            <p:cNvCxnSpPr>
              <a:cxnSpLocks noChangeShapeType="1"/>
            </p:cNvCxnSpPr>
            <p:nvPr/>
          </p:nvCxnSpPr>
          <p:spPr bwMode="auto">
            <a:xfrm flipH="1">
              <a:off x="3581701" y="1312489"/>
              <a:ext cx="1394169" cy="0"/>
            </a:xfrm>
            <a:prstGeom prst="straightConnector1">
              <a:avLst/>
            </a:prstGeom>
            <a:noFill/>
            <a:ln w="12700">
              <a:solidFill>
                <a:srgbClr val="4A7097"/>
              </a:solidFill>
              <a:miter lim="800000"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5" name="Content Placeholder 12"/>
            <p:cNvSpPr txBox="1"/>
            <p:nvPr/>
          </p:nvSpPr>
          <p:spPr>
            <a:xfrm>
              <a:off x="3436997" y="1362928"/>
              <a:ext cx="1547926" cy="731835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Симптомы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Обострения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обочные эффекты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Функция легких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Удовлетворенность ребенка и родителя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cxnSp>
          <p:nvCxnSpPr>
            <p:cNvPr id="86" name="Straight Arrow Connector 85"/>
            <p:cNvCxnSpPr/>
            <p:nvPr/>
          </p:nvCxnSpPr>
          <p:spPr>
            <a:xfrm flipV="1">
              <a:off x="6026399" y="1248629"/>
              <a:ext cx="0" cy="454023"/>
            </a:xfrm>
            <a:prstGeom prst="straightConnector1">
              <a:avLst/>
            </a:prstGeom>
            <a:noFill/>
            <a:ln w="1270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  <a:tailEnd type="oval" w="med" len="med"/>
            </a:ln>
            <a:effectLst/>
          </p:spPr>
        </p:cxnSp>
        <p:sp>
          <p:nvSpPr>
            <p:cNvPr id="88" name="Content Placeholder 12"/>
            <p:cNvSpPr txBox="1"/>
            <p:nvPr/>
          </p:nvSpPr>
          <p:spPr>
            <a:xfrm>
              <a:off x="6102605" y="1281966"/>
              <a:ext cx="2478270" cy="898522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одтверждение диагноза, если требуется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нтроль симптомов заболевания и модифицируемых факторов риска (включая функцию легких)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 err="1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морбидност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ехника использования ингалятора и приверженность терапи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Цели терапии для ребенка и родителя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89" name="Content Placeholder 12"/>
            <p:cNvSpPr txBox="1"/>
            <p:nvPr/>
          </p:nvSpPr>
          <p:spPr>
            <a:xfrm>
              <a:off x="5612032" y="2474174"/>
              <a:ext cx="2475094" cy="647698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Лечение, направленное на модифицируемые факторы риска и </a:t>
              </a:r>
              <a:r>
                <a:rPr lang="ru-RU" sz="900" dirty="0" err="1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морбидност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Немедикаментозные стратеги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Образование</a:t>
              </a:r>
              <a:r>
                <a:rPr lang="en-US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и</a:t>
              </a:r>
              <a:r>
                <a:rPr lang="en-US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ренировка навыков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ерапевтические опции для лечения астмы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cxnSp>
          <p:nvCxnSpPr>
            <p:cNvPr id="90" name="Straight Arrow Connector 89"/>
            <p:cNvCxnSpPr/>
            <p:nvPr/>
          </p:nvCxnSpPr>
          <p:spPr>
            <a:xfrm>
              <a:off x="5753329" y="2347175"/>
              <a:ext cx="1736853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accent6"/>
              </a:solidFill>
              <a:prstDash val="solid"/>
              <a:miter lim="800000"/>
              <a:tailEnd type="oval" w="med" len="med"/>
            </a:ln>
            <a:effectLst/>
          </p:spPr>
        </p:cxnSp>
      </p:grpSp>
      <p:sp>
        <p:nvSpPr>
          <p:cNvPr id="87" name="Rectangle: Top Corners Rounded 29"/>
          <p:cNvSpPr/>
          <p:nvPr/>
        </p:nvSpPr>
        <p:spPr>
          <a:xfrm>
            <a:off x="8212936" y="0"/>
            <a:ext cx="645319" cy="10922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4635" name="Picture 3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936" y="190509"/>
            <a:ext cx="645319" cy="88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Rectangle: Rounded Corners 95"/>
          <p:cNvSpPr/>
          <p:nvPr/>
        </p:nvSpPr>
        <p:spPr>
          <a:xfrm>
            <a:off x="1363267" y="3255966"/>
            <a:ext cx="776288" cy="92868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3" name="Rectangle: Rounded Corners 95"/>
          <p:cNvSpPr/>
          <p:nvPr/>
        </p:nvSpPr>
        <p:spPr>
          <a:xfrm>
            <a:off x="7759303" y="2454284"/>
            <a:ext cx="985838" cy="140017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151460" y="3074988"/>
            <a:ext cx="3723084" cy="2246312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 dirty="0" err="1">
              <a:solidFill>
                <a:srgbClr val="FFFFFF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338891" y="3854450"/>
            <a:ext cx="34529" cy="460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 dirty="0" err="1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884069" y="2819401"/>
            <a:ext cx="1021556" cy="246062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 dirty="0" err="1">
              <a:solidFill>
                <a:srgbClr val="FFFFFF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30631" y="2451103"/>
            <a:ext cx="831056" cy="281781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2270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C870AA67-E002-40E5-A8A4-5B48901604F2}" type="slidenum">
              <a:rPr lang="en-US" altLang="ru-RU" sz="1100">
                <a:solidFill>
                  <a:srgbClr val="988984"/>
                </a:solidFill>
                <a:latin typeface="Calibri" pitchFamily="34" charset="0"/>
              </a:rPr>
              <a:pPr algn="r"/>
              <a:t>32</a:t>
            </a:fld>
            <a:endParaRPr lang="en-US" altLang="ru-RU" sz="1100">
              <a:solidFill>
                <a:srgbClr val="988984"/>
              </a:solidFill>
              <a:latin typeface="Calibri" pitchFamily="34" charset="0"/>
            </a:endParaRPr>
          </a:p>
        </p:txBody>
      </p:sp>
      <p:sp>
        <p:nvSpPr>
          <p:cNvPr id="196610" name="Text Placeholder 7"/>
          <p:cNvSpPr>
            <a:spLocks noGrp="1" noChangeArrowheads="1"/>
          </p:cNvSpPr>
          <p:nvPr>
            <p:ph type="body" sz="quarter" idx="13"/>
          </p:nvPr>
        </p:nvSpPr>
        <p:spPr>
          <a:xfrm>
            <a:off x="21431" y="5662622"/>
            <a:ext cx="8954691" cy="1017587"/>
          </a:xfrm>
        </p:spPr>
        <p:txBody>
          <a:bodyPr/>
          <a:lstStyle/>
          <a:p>
            <a:r>
              <a:rPr lang="ru-RU" altLang="zh-CN" sz="800" smtClean="0"/>
              <a:t>Изображение использовано с разрешения  </a:t>
            </a:r>
            <a:r>
              <a:rPr lang="en-US" altLang="ru-RU" sz="800" smtClean="0"/>
              <a:t>Global Initiative for Asthma (GINA). </a:t>
            </a:r>
            <a:r>
              <a:rPr lang="ru-RU" altLang="zh-CN" sz="800" smtClean="0"/>
              <a:t>Июнь </a:t>
            </a:r>
            <a:r>
              <a:rPr lang="en-US" altLang="ru-RU" sz="800" smtClean="0"/>
              <a:t>2019.</a:t>
            </a:r>
            <a:r>
              <a:rPr lang="ru-RU" altLang="zh-CN" sz="800" smtClean="0"/>
              <a:t/>
            </a:r>
            <a:br>
              <a:rPr lang="ru-RU" altLang="zh-CN" sz="800" smtClean="0"/>
            </a:br>
            <a:r>
              <a:rPr lang="ru-RU" altLang="zh-CN" sz="800" smtClean="0"/>
              <a:t>ИКС – ингаляционные кортикостероиды, ДДБА – длительнодействующие бета2-агонисты, АЛТР – антагонисты лейкотриеновых рецепторов, ФОР – формотерол, ПКС – пероральные кортикостероиды</a:t>
            </a:r>
            <a:r>
              <a:rPr lang="en-GB" altLang="ru-RU" sz="800" smtClean="0"/>
              <a:t>*</a:t>
            </a:r>
            <a:r>
              <a:rPr lang="ru-RU" altLang="zh-CN" sz="800" smtClean="0"/>
              <a:t>Применение «вне инструкции (</a:t>
            </a:r>
            <a:r>
              <a:rPr lang="en-US" altLang="ru-RU" sz="800" smtClean="0"/>
              <a:t>off-label)</a:t>
            </a:r>
            <a:r>
              <a:rPr lang="ru-RU" altLang="zh-CN" sz="800" smtClean="0"/>
              <a:t>»</a:t>
            </a:r>
            <a:r>
              <a:rPr lang="en-GB" altLang="ru-RU" sz="800" smtClean="0"/>
              <a:t>;</a:t>
            </a:r>
            <a:r>
              <a:rPr lang="ru-RU" altLang="zh-CN" sz="800" smtClean="0"/>
              <a:t> данные только о применении будесонид+формотерол</a:t>
            </a:r>
            <a:r>
              <a:rPr lang="en-GB" altLang="ru-RU" sz="800" smtClean="0"/>
              <a:t>. </a:t>
            </a:r>
            <a:r>
              <a:rPr lang="en-GB" altLang="ru-RU" sz="800" baseline="30000" smtClean="0"/>
              <a:t>†</a:t>
            </a:r>
            <a:r>
              <a:rPr lang="ru-RU" altLang="zh-CN" sz="800" smtClean="0"/>
              <a:t>Применение «вне инструкции»:</a:t>
            </a:r>
            <a:r>
              <a:rPr lang="en-GB" altLang="ru-RU" sz="800" smtClean="0"/>
              <a:t> </a:t>
            </a:r>
            <a:r>
              <a:rPr lang="ru-RU" altLang="zh-CN" sz="800" smtClean="0"/>
              <a:t>отдельное применение или в комбинации ИКС и КДБА ингаляторов</a:t>
            </a:r>
            <a:r>
              <a:rPr lang="en-GB" altLang="ru-RU" sz="800" smtClean="0"/>
              <a:t>. </a:t>
            </a:r>
            <a:r>
              <a:rPr lang="en-GB" altLang="ru-RU" sz="800" baseline="30000" smtClean="0"/>
              <a:t>‡</a:t>
            </a:r>
            <a:r>
              <a:rPr lang="ru-RU" altLang="zh-CN" sz="800" smtClean="0"/>
              <a:t>Рассмотреть применение сублингвальной аллергенспецифической иммунотерапии для пациентов с сенсибилизацией к аллергенам клещей домашней пыли, аллергическим ринитом и ОФВ1</a:t>
            </a:r>
            <a:r>
              <a:rPr lang="en-US" altLang="ru-RU" sz="800" smtClean="0"/>
              <a:t>&lt;</a:t>
            </a:r>
            <a:r>
              <a:rPr lang="ru-RU" altLang="zh-CN" sz="800" smtClean="0"/>
              <a:t> 70% от предполагаемого</a:t>
            </a:r>
            <a:r>
              <a:rPr lang="en-GB" altLang="ru-RU" sz="800" smtClean="0"/>
              <a:t>.</a:t>
            </a:r>
            <a:r>
              <a:rPr lang="en-GB" altLang="ru-RU" sz="800" baseline="30000" smtClean="0"/>
              <a:t> §</a:t>
            </a:r>
            <a:r>
              <a:rPr lang="ru-RU" altLang="zh-CN" sz="800" smtClean="0"/>
              <a:t>ИКС-ФОР  - </a:t>
            </a:r>
            <a:r>
              <a:rPr lang="en-US" altLang="ru-RU" sz="800" smtClean="0"/>
              <a:t> </a:t>
            </a:r>
            <a:r>
              <a:rPr lang="ru-RU" altLang="zh-CN" sz="800" smtClean="0"/>
              <a:t>облегчающий препарат для пациентов, которым назначен будесонид-формотерол или дипропионат беклометазона+формотерол в качестве облегчающих препаратов </a:t>
            </a:r>
            <a:r>
              <a:rPr lang="en-US" altLang="ru-RU" sz="800" smtClean="0"/>
              <a:t>1. Global Initiative for Asthma (GINA). Asthma management and prevention for adults and children older than 5 years: a pocket guide for health professionals. Updated 2019. https://ginasthma.org/pocket-guide-for-asthma-management-and-prevention. </a:t>
            </a:r>
            <a:r>
              <a:rPr lang="ru-RU" altLang="zh-CN" sz="800" smtClean="0"/>
              <a:t>Дата доступа: 25-ОКТ-</a:t>
            </a:r>
            <a:r>
              <a:rPr lang="en-GB" altLang="ru-RU" sz="800" smtClean="0"/>
              <a:t>2019.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297660" y="363538"/>
            <a:ext cx="7464029" cy="741362"/>
          </a:xfrm>
        </p:spPr>
        <p:txBody>
          <a:bodyPr>
            <a:normAutofit fontScale="90000"/>
          </a:bodyPr>
          <a:lstStyle/>
          <a:p>
            <a:pPr fontAlgn="auto"/>
            <a:r>
              <a:rPr lang="ru-RU" noProof="1"/>
              <a:t>Рекомендации </a:t>
            </a:r>
            <a:r>
              <a:rPr noProof="1"/>
              <a:t>GINA </a:t>
            </a:r>
            <a:r>
              <a:rPr b="0" noProof="1"/>
              <a:t>(2019) </a:t>
            </a:r>
            <a:r>
              <a:rPr lang="ru-RU" b="0" noProof="1"/>
              <a:t>предполагают ступенчатый подход к терапии бронхиальной астмы, направленный на достижение контроля заболевания</a:t>
            </a:r>
            <a:r>
              <a:rPr baseline="30000" noProof="1"/>
              <a:t>1</a:t>
            </a:r>
            <a:endParaRPr noProof="1"/>
          </a:p>
        </p:txBody>
      </p:sp>
      <p:sp>
        <p:nvSpPr>
          <p:cNvPr id="67" name="Content Placeholder 1"/>
          <p:cNvSpPr>
            <a:spLocks noGrp="1"/>
          </p:cNvSpPr>
          <p:nvPr>
            <p:ph idx="4294967295"/>
          </p:nvPr>
        </p:nvSpPr>
        <p:spPr>
          <a:xfrm>
            <a:off x="103589" y="2371734"/>
            <a:ext cx="1701403" cy="633413"/>
          </a:xfrm>
        </p:spPr>
        <p:txBody>
          <a:bodyPr>
            <a:normAutofit fontScale="62500" lnSpcReduction="20000"/>
          </a:bodyPr>
          <a:lstStyle/>
          <a:p>
            <a:pPr marL="0" indent="0" fontAlgn="auto">
              <a:spcAft>
                <a:spcPts val="0"/>
              </a:spcAft>
              <a:buSzTx/>
              <a:buFont typeface="Wingdings" pitchFamily="2" charset="2"/>
              <a:buNone/>
            </a:pPr>
            <a:r>
              <a:rPr lang="ru-RU" sz="1400" b="1" noProof="1"/>
              <a:t>Терапевтические опции для лечения астмы</a:t>
            </a:r>
            <a:r>
              <a:rPr lang="en-GB" sz="1400" b="1" noProof="1"/>
              <a:t>:</a:t>
            </a:r>
          </a:p>
          <a:p>
            <a:pPr marL="0" indent="0" fontAlgn="auto">
              <a:spcBef>
                <a:spcPts val="400"/>
              </a:spcBef>
              <a:spcAft>
                <a:spcPts val="0"/>
              </a:spcAft>
              <a:buSzTx/>
              <a:buFont typeface="Wingdings" pitchFamily="2" charset="2"/>
              <a:buNone/>
            </a:pPr>
            <a:r>
              <a:rPr lang="ru-RU" sz="1200" i="1" noProof="1"/>
              <a:t>Адаптировать терапию для индивидуальных потребностей пациента </a:t>
            </a:r>
            <a:endParaRPr lang="en-GB" sz="1200" i="1" noProof="1"/>
          </a:p>
        </p:txBody>
      </p:sp>
      <p:grpSp>
        <p:nvGrpSpPr>
          <p:cNvPr id="196613" name="Group 3"/>
          <p:cNvGrpSpPr>
            <a:grpSpLocks/>
          </p:cNvGrpSpPr>
          <p:nvPr/>
        </p:nvGrpSpPr>
        <p:grpSpPr bwMode="auto">
          <a:xfrm>
            <a:off x="-104773" y="1884371"/>
            <a:ext cx="8893969" cy="4250023"/>
            <a:chOff x="-140365" y="1884908"/>
            <a:chExt cx="11859393" cy="4250033"/>
          </a:xfrm>
        </p:grpSpPr>
        <p:sp>
          <p:nvSpPr>
            <p:cNvPr id="159" name="Rectangle 14"/>
            <p:cNvSpPr/>
            <p:nvPr/>
          </p:nvSpPr>
          <p:spPr bwMode="auto">
            <a:xfrm>
              <a:off x="19983" y="3813725"/>
              <a:ext cx="1778115" cy="738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0000"/>
                </a:lnSpc>
                <a:defRPr/>
              </a:pPr>
              <a:r>
                <a:rPr lang="ru-RU" altLang="en-US" sz="1200" dirty="0">
                  <a:solidFill>
                    <a:srgbClr val="988984">
                      <a:lumMod val="50000"/>
                    </a:srgbClr>
                  </a:solidFill>
                  <a:latin typeface="Calibri"/>
                  <a:sym typeface="Arial Italic" charset="0"/>
                </a:rPr>
                <a:t>Для предотвращения обострений и контроля заболевания </a:t>
              </a:r>
              <a:endParaRPr lang="en-GB" altLang="en-US" sz="1200" dirty="0">
                <a:solidFill>
                  <a:srgbClr val="988984">
                    <a:lumMod val="50000"/>
                  </a:srgbClr>
                </a:solidFill>
                <a:latin typeface="Calibri"/>
                <a:sym typeface="Arial Italic" charset="0"/>
              </a:endParaRPr>
            </a:p>
          </p:txBody>
        </p:sp>
        <p:sp>
          <p:nvSpPr>
            <p:cNvPr id="160" name="Rectangle 14"/>
            <p:cNvSpPr/>
            <p:nvPr/>
          </p:nvSpPr>
          <p:spPr bwMode="auto">
            <a:xfrm>
              <a:off x="27921" y="4463014"/>
              <a:ext cx="1695560" cy="554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Другие </a:t>
              </a:r>
            </a:p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нтролирующие</a:t>
              </a:r>
            </a:p>
            <a:p>
              <a:pPr algn="r">
                <a:defRPr/>
              </a:pPr>
              <a:r>
                <a:rPr lang="ru-RU" altLang="ru-RU" sz="12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репараты</a:t>
              </a:r>
              <a:endParaRPr lang="en-US" altLang="en-US" sz="1200" dirty="0">
                <a:solidFill>
                  <a:srgbClr val="988984">
                    <a:lumMod val="50000"/>
                  </a:srgbClr>
                </a:solidFill>
                <a:latin typeface="Calibri"/>
                <a:sym typeface="Arial Italic" charset="0"/>
              </a:endParaRPr>
            </a:p>
          </p:txBody>
        </p:sp>
        <p:sp>
          <p:nvSpPr>
            <p:cNvPr id="161" name="Rectangle 14"/>
            <p:cNvSpPr/>
            <p:nvPr/>
          </p:nvSpPr>
          <p:spPr bwMode="auto">
            <a:xfrm>
              <a:off x="-656" y="5691742"/>
              <a:ext cx="1767002" cy="443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0000"/>
                </a:lnSpc>
                <a:defRPr/>
              </a:pPr>
              <a:r>
                <a:rPr lang="ru-RU" altLang="en-US" sz="1200" dirty="0">
                  <a:solidFill>
                    <a:srgbClr val="988984">
                      <a:lumMod val="50000"/>
                    </a:srgbClr>
                  </a:solidFill>
                  <a:latin typeface="Calibri"/>
                  <a:sym typeface="Arial Italic" charset="0"/>
                </a:rPr>
                <a:t>Другие </a:t>
              </a:r>
              <a:r>
                <a:rPr lang="ru-RU" altLang="en-US" sz="1200" dirty="0" err="1">
                  <a:solidFill>
                    <a:srgbClr val="988984">
                      <a:lumMod val="50000"/>
                    </a:srgbClr>
                  </a:solidFill>
                  <a:latin typeface="Calibri"/>
                  <a:sym typeface="Arial Italic" charset="0"/>
                </a:rPr>
                <a:t>скоропомощные</a:t>
              </a:r>
              <a:r>
                <a:rPr lang="ru-RU" altLang="en-US" sz="1200" dirty="0">
                  <a:solidFill>
                    <a:srgbClr val="988984">
                      <a:lumMod val="50000"/>
                    </a:srgbClr>
                  </a:solidFill>
                  <a:latin typeface="Calibri"/>
                  <a:sym typeface="Arial Italic" charset="0"/>
                </a:rPr>
                <a:t> препараты</a:t>
              </a:r>
              <a:endParaRPr lang="en-US" altLang="en-US" sz="1200" dirty="0">
                <a:solidFill>
                  <a:srgbClr val="988984">
                    <a:lumMod val="50000"/>
                  </a:srgbClr>
                </a:solidFill>
                <a:latin typeface="Calibri"/>
                <a:sym typeface="Arial Italic" charset="0"/>
              </a:endParaRPr>
            </a:p>
          </p:txBody>
        </p:sp>
        <p:sp>
          <p:nvSpPr>
            <p:cNvPr id="162" name="Rectangle 14"/>
            <p:cNvSpPr/>
            <p:nvPr/>
          </p:nvSpPr>
          <p:spPr bwMode="auto">
            <a:xfrm>
              <a:off x="208908" y="3354937"/>
              <a:ext cx="1557439" cy="784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Предпочтительные </a:t>
              </a:r>
            </a:p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контролирующие</a:t>
              </a:r>
            </a:p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FF9900">
                      <a:lumMod val="75000"/>
                    </a:srgbClr>
                  </a:solidFill>
                  <a:latin typeface="Calibri"/>
                  <a:sym typeface="Arial Bold" charset="0"/>
                </a:rPr>
                <a:t>препараты</a:t>
              </a:r>
            </a:p>
          </p:txBody>
        </p:sp>
        <p:sp>
          <p:nvSpPr>
            <p:cNvPr id="163" name="Rectangle 162"/>
            <p:cNvSpPr/>
            <p:nvPr/>
          </p:nvSpPr>
          <p:spPr>
            <a:xfrm>
              <a:off x="9213791" y="2467521"/>
              <a:ext cx="1168476" cy="176212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10367979" y="1884908"/>
              <a:ext cx="1308185" cy="2339981"/>
            </a:xfrm>
            <a:prstGeom prst="rect">
              <a:avLst/>
            </a:prstGeom>
            <a:solidFill>
              <a:srgbClr val="E287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5" name="Rectangle 164"/>
            <p:cNvSpPr/>
            <p:nvPr/>
          </p:nvSpPr>
          <p:spPr>
            <a:xfrm>
              <a:off x="7845277" y="2819947"/>
              <a:ext cx="1378039" cy="13985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10374329" y="4215364"/>
              <a:ext cx="1301834" cy="1060453"/>
            </a:xfrm>
            <a:prstGeom prst="rect">
              <a:avLst/>
            </a:prstGeom>
            <a:solidFill>
              <a:srgbClr val="E287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2863380" y="3102523"/>
              <a:ext cx="4994598" cy="110649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2863380" y="4209014"/>
              <a:ext cx="4994598" cy="106680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grpSp>
          <p:nvGrpSpPr>
            <p:cNvPr id="196624" name="Group 168"/>
            <p:cNvGrpSpPr>
              <a:grpSpLocks/>
            </p:cNvGrpSpPr>
            <p:nvPr/>
          </p:nvGrpSpPr>
          <p:grpSpPr bwMode="auto">
            <a:xfrm>
              <a:off x="1830607" y="3301103"/>
              <a:ext cx="1037469" cy="917435"/>
              <a:chOff x="2534249" y="2891674"/>
              <a:chExt cx="902524" cy="973331"/>
            </a:xfrm>
          </p:grpSpPr>
          <p:sp>
            <p:nvSpPr>
              <p:cNvPr id="170" name="Rectangle 169"/>
              <p:cNvSpPr/>
              <p:nvPr/>
            </p:nvSpPr>
            <p:spPr>
              <a:xfrm>
                <a:off x="2533591" y="2891523"/>
                <a:ext cx="903240" cy="973482"/>
              </a:xfrm>
              <a:prstGeom prst="rect">
                <a:avLst/>
              </a:prstGeom>
              <a:pattFill prst="wdUpDiag">
                <a:fgClr>
                  <a:schemeClr val="accent6">
                    <a:lumMod val="40000"/>
                    <a:lumOff val="60000"/>
                  </a:schemeClr>
                </a:fgClr>
                <a:bgClr>
                  <a:schemeClr val="accent3">
                    <a:lumMod val="20000"/>
                    <a:lumOff val="80000"/>
                  </a:schemeClr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GB" sz="1600" kern="0" dirty="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171" name="Content Placeholder 34"/>
              <p:cNvSpPr txBox="1"/>
              <p:nvPr/>
            </p:nvSpPr>
            <p:spPr>
              <a:xfrm>
                <a:off x="2536353" y="2972366"/>
                <a:ext cx="899096" cy="213896"/>
              </a:xfrm>
              <a:prstGeom prst="rect">
                <a:avLst/>
              </a:prstGeom>
            </p:spPr>
            <p:txBody>
              <a:bodyPr lIns="0" tIns="0" rIns="0" bIns="0"/>
              <a:lstStyle>
                <a:defPPr>
                  <a:defRPr lang="nl-BE"/>
                </a:defPPr>
                <a:lvl1pPr indent="0" algn="r">
                  <a:lnSpc>
                    <a:spcPct val="85000"/>
                  </a:lnSpc>
                  <a:spcBef>
                    <a:spcPts val="0"/>
                  </a:spcBef>
                  <a:buFont typeface="Arial" panose="02080604020202020204" pitchFamily="34" charset="0"/>
                  <a:buNone/>
                  <a:defRPr sz="1400" b="1">
                    <a:solidFill>
                      <a:schemeClr val="accent2">
                        <a:lumMod val="75000"/>
                      </a:schemeClr>
                    </a:solidFill>
                  </a:defRPr>
                </a:lvl1pPr>
                <a:lvl2pPr marL="180975" indent="-180975">
                  <a:lnSpc>
                    <a:spcPct val="90000"/>
                  </a:lnSpc>
                  <a:spcBef>
                    <a:spcPts val="1000"/>
                  </a:spcBef>
                  <a:buClrTx/>
                  <a:buFont typeface="Arial" panose="02080604020202020204" pitchFamily="34" charset="0"/>
                  <a:buChar char="•"/>
                  <a:defRPr>
                    <a:solidFill>
                      <a:schemeClr val="accent2">
                        <a:lumMod val="75000"/>
                      </a:schemeClr>
                    </a:solidFill>
                  </a:defRPr>
                </a:lvl2pPr>
                <a:lvl3pPr marL="361950" indent="-180975"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Font typeface="Calibri" panose="020F0502020204030204" pitchFamily="34" charset="0"/>
                  <a:buChar char="‒"/>
                  <a:defRPr sz="1600">
                    <a:solidFill>
                      <a:schemeClr val="accent2">
                        <a:lumMod val="75000"/>
                      </a:schemeClr>
                    </a:solidFill>
                  </a:defRPr>
                </a:lvl3pPr>
                <a:lvl4pPr marL="533400" indent="-160655">
                  <a:lnSpc>
                    <a:spcPct val="90000"/>
                  </a:lnSpc>
                  <a:spcBef>
                    <a:spcPts val="400"/>
                  </a:spcBef>
                  <a:buSzPct val="118000"/>
                  <a:buFont typeface="Arial" panose="02080604020202020204" pitchFamily="34" charset="0"/>
                  <a:buChar char="•"/>
                  <a:defRPr sz="1400">
                    <a:solidFill>
                      <a:schemeClr val="accent2">
                        <a:lumMod val="75000"/>
                      </a:schemeClr>
                    </a:solidFill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9pPr>
              </a:lstStyle>
              <a:p>
                <a:pPr algn="ctr">
                  <a:lnSpc>
                    <a:spcPct val="80000"/>
                  </a:lnSpc>
                  <a:defRPr/>
                </a:pPr>
                <a:r>
                  <a:rPr lang="ru-RU" sz="1800" b="0" kern="0" dirty="0">
                    <a:solidFill>
                      <a:srgbClr val="005B71"/>
                    </a:solidFill>
                    <a:latin typeface="Impact" panose="020B0806030902050204" pitchFamily="34" charset="0"/>
                  </a:rPr>
                  <a:t>СТУПЕНЬ</a:t>
                </a:r>
                <a:r>
                  <a:rPr lang="en-GB" sz="1800" b="0" kern="0" dirty="0">
                    <a:solidFill>
                      <a:srgbClr val="005B71"/>
                    </a:solidFill>
                    <a:latin typeface="Impact" panose="020B0806030902050204" pitchFamily="34" charset="0"/>
                  </a:rPr>
                  <a:t> 1</a:t>
                </a:r>
              </a:p>
            </p:txBody>
          </p:sp>
        </p:grpSp>
        <p:sp>
          <p:nvSpPr>
            <p:cNvPr id="172" name="Content Placeholder 34"/>
            <p:cNvSpPr txBox="1"/>
            <p:nvPr/>
          </p:nvSpPr>
          <p:spPr>
            <a:xfrm>
              <a:off x="2869730" y="3339062"/>
              <a:ext cx="4972372" cy="207963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2</a:t>
              </a:r>
            </a:p>
          </p:txBody>
        </p:sp>
        <p:sp>
          <p:nvSpPr>
            <p:cNvPr id="173" name="Content Placeholder 34"/>
            <p:cNvSpPr txBox="1"/>
            <p:nvPr/>
          </p:nvSpPr>
          <p:spPr>
            <a:xfrm>
              <a:off x="2852267" y="3672437"/>
              <a:ext cx="4985073" cy="268288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Низкие дозы ИКС ежедневно или низкие дозы ИКС-ФОР по потребности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>*</a:t>
              </a: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1834613" y="4215364"/>
              <a:ext cx="1044643" cy="1065215"/>
            </a:xfrm>
            <a:prstGeom prst="rect">
              <a:avLst/>
            </a:prstGeom>
            <a:pattFill prst="wdUpDiag">
              <a:fgClr>
                <a:schemeClr val="accent6">
                  <a:lumMod val="40000"/>
                  <a:lumOff val="60000"/>
                </a:schemeClr>
              </a:fgClr>
              <a:bgClr>
                <a:schemeClr val="accent3">
                  <a:lumMod val="20000"/>
                  <a:lumOff val="80000"/>
                </a:schemeClr>
              </a:bgClr>
            </a:patt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5" name="Content Placeholder 34"/>
            <p:cNvSpPr txBox="1"/>
            <p:nvPr/>
          </p:nvSpPr>
          <p:spPr>
            <a:xfrm>
              <a:off x="1923519" y="4440789"/>
              <a:ext cx="831905" cy="738666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Низкие дозы ИКС при приеме КДБА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†</a:t>
              </a:r>
            </a:p>
          </p:txBody>
        </p:sp>
        <p:sp>
          <p:nvSpPr>
            <p:cNvPr id="176" name="Content Placeholder 34"/>
            <p:cNvSpPr txBox="1"/>
            <p:nvPr/>
          </p:nvSpPr>
          <p:spPr>
            <a:xfrm>
              <a:off x="3025000" y="4588427"/>
              <a:ext cx="4661835" cy="29546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нтагонисты </a:t>
              </a:r>
              <a:r>
                <a:rPr lang="ru-RU" sz="1200" b="0" i="1" kern="0" dirty="0" err="1">
                  <a:solidFill>
                    <a:srgbClr val="005B71"/>
                  </a:solidFill>
                  <a:latin typeface="Calibri"/>
                </a:rPr>
                <a:t>лейкотриеновых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 рецепторов 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(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ЛТР)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,</a:t>
              </a:r>
              <a:br>
                <a:rPr lang="en-GB" sz="1200" b="0" i="1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ли низкие дозы ИКС при приеме КДБА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†</a:t>
              </a:r>
            </a:p>
          </p:txBody>
        </p:sp>
        <p:grpSp>
          <p:nvGrpSpPr>
            <p:cNvPr id="196632" name="Group 176"/>
            <p:cNvGrpSpPr>
              <a:grpSpLocks/>
            </p:cNvGrpSpPr>
            <p:nvPr/>
          </p:nvGrpSpPr>
          <p:grpSpPr bwMode="auto">
            <a:xfrm>
              <a:off x="1830607" y="5277285"/>
              <a:ext cx="6028658" cy="356577"/>
              <a:chOff x="2534249" y="4988257"/>
              <a:chExt cx="5244502" cy="378301"/>
            </a:xfrm>
          </p:grpSpPr>
          <p:sp>
            <p:nvSpPr>
              <p:cNvPr id="178" name="Rectangle 177"/>
              <p:cNvSpPr/>
              <p:nvPr/>
            </p:nvSpPr>
            <p:spPr>
              <a:xfrm>
                <a:off x="2533591" y="4988382"/>
                <a:ext cx="5245422" cy="378950"/>
              </a:xfrm>
              <a:prstGeom prst="rect">
                <a:avLst/>
              </a:prstGeom>
              <a:pattFill prst="wdUpDiag">
                <a:fgClr>
                  <a:schemeClr val="accent6">
                    <a:lumMod val="40000"/>
                    <a:lumOff val="60000"/>
                  </a:schemeClr>
                </a:fgClr>
                <a:bgClr>
                  <a:schemeClr val="accent3">
                    <a:lumMod val="20000"/>
                    <a:lumOff val="80000"/>
                  </a:schemeClr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GB" sz="1600" kern="0" dirty="0">
                  <a:solidFill>
                    <a:srgbClr val="988984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79" name="Content Placeholder 34"/>
              <p:cNvSpPr txBox="1"/>
              <p:nvPr/>
            </p:nvSpPr>
            <p:spPr>
              <a:xfrm>
                <a:off x="2906489" y="5091120"/>
                <a:ext cx="4619782" cy="161685"/>
              </a:xfrm>
              <a:prstGeom prst="rect">
                <a:avLst/>
              </a:prstGeom>
            </p:spPr>
            <p:txBody>
              <a:bodyPr lIns="0" tIns="0" rIns="0" bIns="0" anchor="ctr">
                <a:spAutoFit/>
              </a:bodyPr>
              <a:lstStyle>
                <a:defPPr>
                  <a:defRPr lang="nl-BE"/>
                </a:defPPr>
                <a:lvl1pPr indent="0" algn="r">
                  <a:lnSpc>
                    <a:spcPct val="85000"/>
                  </a:lnSpc>
                  <a:spcBef>
                    <a:spcPts val="0"/>
                  </a:spcBef>
                  <a:buFont typeface="Arial" panose="02080604020202020204" pitchFamily="34" charset="0"/>
                  <a:buNone/>
                  <a:defRPr sz="1400" b="1">
                    <a:solidFill>
                      <a:schemeClr val="accent2">
                        <a:lumMod val="75000"/>
                      </a:schemeClr>
                    </a:solidFill>
                  </a:defRPr>
                </a:lvl1pPr>
                <a:lvl2pPr marL="180975" indent="-180975">
                  <a:lnSpc>
                    <a:spcPct val="90000"/>
                  </a:lnSpc>
                  <a:spcBef>
                    <a:spcPts val="1000"/>
                  </a:spcBef>
                  <a:buClrTx/>
                  <a:buFont typeface="Arial" panose="02080604020202020204" pitchFamily="34" charset="0"/>
                  <a:buChar char="•"/>
                  <a:defRPr>
                    <a:solidFill>
                      <a:schemeClr val="accent2">
                        <a:lumMod val="75000"/>
                      </a:schemeClr>
                    </a:solidFill>
                  </a:defRPr>
                </a:lvl2pPr>
                <a:lvl3pPr marL="361950" indent="-180975"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Font typeface="Calibri" panose="020F0502020204030204" pitchFamily="34" charset="0"/>
                  <a:buChar char="‒"/>
                  <a:defRPr sz="1600">
                    <a:solidFill>
                      <a:schemeClr val="accent2">
                        <a:lumMod val="75000"/>
                      </a:schemeClr>
                    </a:solidFill>
                  </a:defRPr>
                </a:lvl3pPr>
                <a:lvl4pPr marL="533400" indent="-160655">
                  <a:lnSpc>
                    <a:spcPct val="90000"/>
                  </a:lnSpc>
                  <a:spcBef>
                    <a:spcPts val="400"/>
                  </a:spcBef>
                  <a:buSzPct val="118000"/>
                  <a:buFont typeface="Arial" panose="02080604020202020204" pitchFamily="34" charset="0"/>
                  <a:buChar char="•"/>
                  <a:defRPr sz="1400">
                    <a:solidFill>
                      <a:schemeClr val="accent2">
                        <a:lumMod val="75000"/>
                      </a:schemeClr>
                    </a:solidFill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9pPr>
              </a:lstStyle>
              <a:p>
                <a:pPr algn="ctr">
                  <a:lnSpc>
                    <a:spcPct val="80000"/>
                  </a:lnSpc>
                  <a:defRPr/>
                </a:pPr>
                <a:r>
                  <a:rPr lang="ru-RU" sz="1200" b="0" kern="0" dirty="0">
                    <a:solidFill>
                      <a:srgbClr val="988984">
                        <a:lumMod val="50000"/>
                      </a:srgbClr>
                    </a:solidFill>
                    <a:latin typeface="Calibri"/>
                  </a:rPr>
                  <a:t>Низкие дозы ИКС-ФОР по потребности*</a:t>
                </a:r>
              </a:p>
            </p:txBody>
          </p:sp>
        </p:grpSp>
        <p:cxnSp>
          <p:nvCxnSpPr>
            <p:cNvPr id="180" name="Straight Connector 179"/>
            <p:cNvCxnSpPr/>
            <p:nvPr/>
          </p:nvCxnSpPr>
          <p:spPr>
            <a:xfrm>
              <a:off x="2874493" y="3092998"/>
              <a:ext cx="0" cy="2176468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sp>
          <p:nvSpPr>
            <p:cNvPr id="181" name="Rectangle 180"/>
            <p:cNvSpPr/>
            <p:nvPr/>
          </p:nvSpPr>
          <p:spPr>
            <a:xfrm>
              <a:off x="9180452" y="4215364"/>
              <a:ext cx="1198640" cy="1060453"/>
            </a:xfrm>
            <a:prstGeom prst="rect">
              <a:avLst/>
            </a:prstGeom>
            <a:solidFill>
              <a:schemeClr val="accent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9213791" y="4423326"/>
              <a:ext cx="1168476" cy="941798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5000"/>
                </a:lnSpc>
                <a:defRPr/>
              </a:pP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Высокие дозы ИКС, дополнительно </a:t>
              </a:r>
              <a:r>
                <a:rPr lang="ru-RU" sz="1200" i="1" kern="0" dirty="0" err="1">
                  <a:solidFill>
                    <a:srgbClr val="005B71"/>
                  </a:solidFill>
                  <a:latin typeface="Calibri"/>
                </a:rPr>
                <a:t>тиотропий</a:t>
              </a: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 или АЛТР</a:t>
              </a:r>
              <a:r>
                <a:rPr lang="en-GB" sz="1200" i="1" kern="0" baseline="30000" dirty="0">
                  <a:solidFill>
                    <a:srgbClr val="005B71"/>
                  </a:solidFill>
                  <a:latin typeface="Calibri"/>
                </a:rPr>
                <a:t>‡</a:t>
              </a:r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10501337" y="4305851"/>
              <a:ext cx="1058931" cy="1255731"/>
            </a:xfrm>
            <a:prstGeom prst="rect">
              <a:avLst/>
            </a:prstGeom>
            <a:noFill/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5000"/>
                </a:lnSpc>
                <a:defRPr/>
              </a:pP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Добавить низкие дозы </a:t>
              </a:r>
            </a:p>
            <a:p>
              <a:pPr algn="ctr">
                <a:lnSpc>
                  <a:spcPct val="85000"/>
                </a:lnSpc>
                <a:defRPr/>
              </a:pPr>
              <a:r>
                <a:rPr lang="ru-RU" sz="1200" i="1" kern="0" dirty="0">
                  <a:solidFill>
                    <a:srgbClr val="005B71"/>
                  </a:solidFill>
                  <a:latin typeface="Calibri"/>
                </a:rPr>
                <a:t>ПКС, но учесть возможные побочные эффекты</a:t>
              </a:r>
              <a:endParaRPr lang="en-GB" sz="1200" i="1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84" name="Rectangle 183"/>
            <p:cNvSpPr/>
            <p:nvPr/>
          </p:nvSpPr>
          <p:spPr>
            <a:xfrm>
              <a:off x="7845277" y="4207426"/>
              <a:ext cx="1384390" cy="10683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85" name="TextBox 184"/>
            <p:cNvSpPr txBox="1"/>
            <p:nvPr/>
          </p:nvSpPr>
          <p:spPr>
            <a:xfrm>
              <a:off x="10345752" y="2600872"/>
              <a:ext cx="1373276" cy="177895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Высокие дозы</a:t>
              </a:r>
              <a:r>
                <a:rPr lang="en-GB" sz="120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sz="120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ИКС-ДДБА</a:t>
              </a:r>
              <a:endParaRPr lang="en-GB" sz="1200" kern="0" baseline="30000" dirty="0">
                <a:solidFill>
                  <a:srgbClr val="005B71"/>
                </a:solidFill>
                <a:latin typeface="Calibri"/>
              </a:endParaRPr>
            </a:p>
            <a:p>
              <a:pPr algn="ctr">
                <a:lnSpc>
                  <a:spcPct val="80000"/>
                </a:lnSpc>
                <a:spcBef>
                  <a:spcPts val="600"/>
                </a:spcBef>
                <a:defRPr/>
              </a:pP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Произвести оценку  фенотипа 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±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 поддерживающая терапия: </a:t>
              </a:r>
            </a:p>
            <a:p>
              <a:pPr algn="ctr">
                <a:lnSpc>
                  <a:spcPct val="80000"/>
                </a:lnSpc>
                <a:spcBef>
                  <a:spcPts val="600"/>
                </a:spcBef>
                <a:defRPr/>
              </a:pPr>
              <a:r>
                <a:rPr lang="ru-RU" sz="1200" kern="0" dirty="0" err="1">
                  <a:solidFill>
                    <a:srgbClr val="005B71"/>
                  </a:solidFill>
                  <a:latin typeface="Calibri"/>
                </a:rPr>
                <a:t>тиотропий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,</a:t>
              </a:r>
              <a:br>
                <a:rPr lang="en-US" sz="120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анти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-</a:t>
              </a:r>
              <a:r>
                <a:rPr lang="en-US" sz="1200" kern="0" dirty="0" err="1">
                  <a:solidFill>
                    <a:srgbClr val="005B71"/>
                  </a:solidFill>
                  <a:latin typeface="Calibri"/>
                </a:rPr>
                <a:t>IgE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, </a:t>
              </a:r>
              <a:br>
                <a:rPr lang="en-US" sz="120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анти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-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ИЛ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5/5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Р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, </a:t>
              </a:r>
              <a:br>
                <a:rPr lang="en-US" sz="120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анти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-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ИЛ</a:t>
              </a:r>
              <a:r>
                <a:rPr lang="en-US" sz="1200" kern="0" dirty="0">
                  <a:solidFill>
                    <a:srgbClr val="005B71"/>
                  </a:solidFill>
                  <a:latin typeface="Calibri"/>
                </a:rPr>
                <a:t>4</a:t>
              </a:r>
              <a:r>
                <a:rPr lang="ru-RU" sz="1200" kern="0" dirty="0">
                  <a:solidFill>
                    <a:srgbClr val="005B71"/>
                  </a:solidFill>
                  <a:latin typeface="Calibri"/>
                </a:rPr>
                <a:t>Р</a:t>
              </a:r>
              <a:endParaRPr lang="en-US" sz="1200" kern="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86" name="Content Placeholder 34"/>
            <p:cNvSpPr txBox="1"/>
            <p:nvPr/>
          </p:nvSpPr>
          <p:spPr>
            <a:xfrm>
              <a:off x="7874154" y="3131098"/>
              <a:ext cx="1305998" cy="2216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3</a:t>
              </a:r>
            </a:p>
          </p:txBody>
        </p:sp>
        <p:sp>
          <p:nvSpPr>
            <p:cNvPr id="187" name="Content Placeholder 34"/>
            <p:cNvSpPr txBox="1"/>
            <p:nvPr/>
          </p:nvSpPr>
          <p:spPr>
            <a:xfrm>
              <a:off x="9148511" y="2624685"/>
              <a:ext cx="1297448" cy="2216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 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4</a:t>
              </a:r>
            </a:p>
          </p:txBody>
        </p:sp>
        <p:sp>
          <p:nvSpPr>
            <p:cNvPr id="188" name="Content Placeholder 34"/>
            <p:cNvSpPr txBox="1"/>
            <p:nvPr/>
          </p:nvSpPr>
          <p:spPr>
            <a:xfrm>
              <a:off x="10385468" y="1967458"/>
              <a:ext cx="1308135" cy="22160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СТУПЕНЬ</a:t>
              </a:r>
              <a:r>
                <a:rPr lang="en-GB" sz="1800" b="0" kern="0" dirty="0">
                  <a:solidFill>
                    <a:srgbClr val="005B71"/>
                  </a:solidFill>
                  <a:latin typeface="Impact" panose="020B0806030902050204" pitchFamily="34" charset="0"/>
                </a:rPr>
                <a:t> 5</a:t>
              </a:r>
            </a:p>
          </p:txBody>
        </p:sp>
        <p:sp>
          <p:nvSpPr>
            <p:cNvPr id="189" name="Content Placeholder 34"/>
            <p:cNvSpPr txBox="1"/>
            <p:nvPr/>
          </p:nvSpPr>
          <p:spPr>
            <a:xfrm>
              <a:off x="7695954" y="4513814"/>
              <a:ext cx="1660820" cy="4431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Средние дозы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 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КС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,</a:t>
              </a:r>
              <a:br>
                <a:rPr lang="en-GB" sz="1200" b="0" i="1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ли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 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низкие дозы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sz="1200" b="0" i="1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ИКС</a:t>
              </a:r>
              <a:r>
                <a:rPr lang="en-GB" sz="1200" b="0" i="1" kern="0" dirty="0">
                  <a:solidFill>
                    <a:srgbClr val="005B71"/>
                  </a:solidFill>
                  <a:latin typeface="Calibri"/>
                </a:rPr>
                <a:t>+</a:t>
              </a:r>
              <a:r>
                <a:rPr lang="ru-RU" sz="1200" b="0" i="1" kern="0" dirty="0">
                  <a:solidFill>
                    <a:srgbClr val="005B71"/>
                  </a:solidFill>
                  <a:latin typeface="Calibri"/>
                </a:rPr>
                <a:t>АЛТР</a:t>
              </a:r>
              <a:r>
                <a:rPr lang="en-GB" sz="1200" b="0" i="1" kern="0" baseline="30000" dirty="0">
                  <a:solidFill>
                    <a:srgbClr val="005B71"/>
                  </a:solidFill>
                  <a:latin typeface="Calibri"/>
                </a:rPr>
                <a:t>‡</a:t>
              </a:r>
            </a:p>
          </p:txBody>
        </p:sp>
        <p:sp>
          <p:nvSpPr>
            <p:cNvPr id="190" name="Content Placeholder 34"/>
            <p:cNvSpPr txBox="1"/>
            <p:nvPr/>
          </p:nvSpPr>
          <p:spPr>
            <a:xfrm>
              <a:off x="7781773" y="3499399"/>
              <a:ext cx="1490760" cy="354014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Низкие дозы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b="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ИКС-ДДБА</a:t>
              </a:r>
              <a:endParaRPr lang="en-GB" b="0" kern="0" baseline="30000" dirty="0">
                <a:solidFill>
                  <a:srgbClr val="005B71"/>
                </a:solidFill>
                <a:latin typeface="Calibri"/>
              </a:endParaRPr>
            </a:p>
          </p:txBody>
        </p:sp>
        <p:sp>
          <p:nvSpPr>
            <p:cNvPr id="191" name="Content Placeholder 34"/>
            <p:cNvSpPr txBox="1"/>
            <p:nvPr/>
          </p:nvSpPr>
          <p:spPr>
            <a:xfrm>
              <a:off x="9186802" y="3499399"/>
              <a:ext cx="1222454" cy="355601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Средние дозы</a:t>
              </a:r>
              <a:r>
                <a:rPr lang="en-GB" b="0" kern="0" dirty="0">
                  <a:solidFill>
                    <a:srgbClr val="005B71"/>
                  </a:solidFill>
                  <a:latin typeface="Calibri"/>
                </a:rPr>
                <a:t/>
              </a:r>
              <a:br>
                <a:rPr lang="en-GB" b="0" kern="0" dirty="0">
                  <a:solidFill>
                    <a:srgbClr val="005B71"/>
                  </a:solidFill>
                  <a:latin typeface="Calibri"/>
                </a:rPr>
              </a:br>
              <a:r>
                <a:rPr lang="ru-RU" b="0" kern="0" dirty="0">
                  <a:solidFill>
                    <a:srgbClr val="005B71"/>
                  </a:solidFill>
                  <a:latin typeface="Calibri"/>
                </a:rPr>
                <a:t>ИКС-ДДБА</a:t>
              </a:r>
              <a:endParaRPr lang="en-GB" b="0" kern="0" baseline="30000" dirty="0">
                <a:solidFill>
                  <a:srgbClr val="005B71"/>
                </a:solidFill>
                <a:latin typeface="Calibri"/>
              </a:endParaRPr>
            </a:p>
          </p:txBody>
        </p:sp>
        <p:grpSp>
          <p:nvGrpSpPr>
            <p:cNvPr id="196647" name="Group 191"/>
            <p:cNvGrpSpPr>
              <a:grpSpLocks/>
            </p:cNvGrpSpPr>
            <p:nvPr/>
          </p:nvGrpSpPr>
          <p:grpSpPr bwMode="auto">
            <a:xfrm>
              <a:off x="7851808" y="5277286"/>
              <a:ext cx="3824181" cy="356574"/>
              <a:chOff x="7772265" y="4988257"/>
              <a:chExt cx="3326765" cy="378298"/>
            </a:xfrm>
          </p:grpSpPr>
          <p:sp>
            <p:nvSpPr>
              <p:cNvPr id="193" name="Rectangle 192"/>
              <p:cNvSpPr/>
              <p:nvPr/>
            </p:nvSpPr>
            <p:spPr>
              <a:xfrm>
                <a:off x="7772108" y="4988381"/>
                <a:ext cx="3327074" cy="378950"/>
              </a:xfrm>
              <a:prstGeom prst="rect">
                <a:avLst/>
              </a:prstGeom>
              <a:pattFill prst="wdUpDiag">
                <a:fgClr>
                  <a:schemeClr val="accent6">
                    <a:lumMod val="40000"/>
                    <a:lumOff val="60000"/>
                  </a:schemeClr>
                </a:fgClr>
                <a:bgClr>
                  <a:schemeClr val="accent3">
                    <a:lumMod val="20000"/>
                    <a:lumOff val="80000"/>
                  </a:schemeClr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en-GB" sz="1600" kern="0" dirty="0">
                  <a:solidFill>
                    <a:srgbClr val="988984">
                      <a:lumMod val="50000"/>
                    </a:srgbClr>
                  </a:solidFill>
                  <a:latin typeface="Calibri"/>
                </a:endParaRPr>
              </a:p>
            </p:txBody>
          </p:sp>
          <p:sp>
            <p:nvSpPr>
              <p:cNvPr id="194" name="Content Placeholder 34"/>
              <p:cNvSpPr txBox="1"/>
              <p:nvPr/>
            </p:nvSpPr>
            <p:spPr>
              <a:xfrm>
                <a:off x="7777633" y="5094488"/>
                <a:ext cx="3206918" cy="161685"/>
              </a:xfrm>
              <a:prstGeom prst="rect">
                <a:avLst/>
              </a:prstGeom>
            </p:spPr>
            <p:txBody>
              <a:bodyPr lIns="0" tIns="0" rIns="0" bIns="0" anchor="ctr">
                <a:spAutoFit/>
              </a:bodyPr>
              <a:lstStyle>
                <a:defPPr>
                  <a:defRPr lang="nl-BE"/>
                </a:defPPr>
                <a:lvl1pPr indent="0" algn="r">
                  <a:lnSpc>
                    <a:spcPct val="85000"/>
                  </a:lnSpc>
                  <a:spcBef>
                    <a:spcPts val="0"/>
                  </a:spcBef>
                  <a:buFont typeface="Arial" panose="02080604020202020204" pitchFamily="34" charset="0"/>
                  <a:buNone/>
                  <a:defRPr sz="1400" b="1">
                    <a:solidFill>
                      <a:schemeClr val="accent2">
                        <a:lumMod val="75000"/>
                      </a:schemeClr>
                    </a:solidFill>
                  </a:defRPr>
                </a:lvl1pPr>
                <a:lvl2pPr marL="180975" indent="-180975">
                  <a:lnSpc>
                    <a:spcPct val="90000"/>
                  </a:lnSpc>
                  <a:spcBef>
                    <a:spcPts val="1000"/>
                  </a:spcBef>
                  <a:buClrTx/>
                  <a:buFont typeface="Arial" panose="02080604020202020204" pitchFamily="34" charset="0"/>
                  <a:buChar char="•"/>
                  <a:defRPr>
                    <a:solidFill>
                      <a:schemeClr val="accent2">
                        <a:lumMod val="75000"/>
                      </a:schemeClr>
                    </a:solidFill>
                  </a:defRPr>
                </a:lvl2pPr>
                <a:lvl3pPr marL="361950" indent="-180975">
                  <a:lnSpc>
                    <a:spcPct val="90000"/>
                  </a:lnSpc>
                  <a:spcBef>
                    <a:spcPts val="600"/>
                  </a:spcBef>
                  <a:buClr>
                    <a:schemeClr val="tx2"/>
                  </a:buClr>
                  <a:buFont typeface="Calibri" panose="020F0502020204030204" pitchFamily="34" charset="0"/>
                  <a:buChar char="‒"/>
                  <a:defRPr sz="1600">
                    <a:solidFill>
                      <a:schemeClr val="accent2">
                        <a:lumMod val="75000"/>
                      </a:schemeClr>
                    </a:solidFill>
                  </a:defRPr>
                </a:lvl3pPr>
                <a:lvl4pPr marL="533400" indent="-160655">
                  <a:lnSpc>
                    <a:spcPct val="90000"/>
                  </a:lnSpc>
                  <a:spcBef>
                    <a:spcPts val="400"/>
                  </a:spcBef>
                  <a:buSzPct val="118000"/>
                  <a:buFont typeface="Arial" panose="02080604020202020204" pitchFamily="34" charset="0"/>
                  <a:buChar char="•"/>
                  <a:defRPr sz="1400">
                    <a:solidFill>
                      <a:schemeClr val="accent2">
                        <a:lumMod val="75000"/>
                      </a:schemeClr>
                    </a:solidFill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5pPr>
                <a:lvl6pPr marL="25146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6pPr>
                <a:lvl7pPr marL="29718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7pPr>
                <a:lvl8pPr marL="3429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8pPr>
                <a:lvl9pPr marL="3886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80604020202020204" pitchFamily="34" charset="0"/>
                  <a:buChar char="•"/>
                </a:lvl9pPr>
              </a:lstStyle>
              <a:p>
                <a:pPr algn="ctr">
                  <a:lnSpc>
                    <a:spcPct val="80000"/>
                  </a:lnSpc>
                  <a:defRPr/>
                </a:pPr>
                <a:r>
                  <a:rPr lang="ru-RU" sz="1200" b="0" kern="0" dirty="0">
                    <a:solidFill>
                      <a:srgbClr val="988984">
                        <a:lumMod val="50000"/>
                      </a:srgbClr>
                    </a:solidFill>
                    <a:latin typeface="Calibri"/>
                  </a:rPr>
                  <a:t>Низкие дозы ИКС-ФОР по потребности</a:t>
                </a:r>
                <a:r>
                  <a:rPr lang="en-GB" sz="1200" b="0" kern="0" baseline="30000" dirty="0">
                    <a:solidFill>
                      <a:srgbClr val="988984">
                        <a:lumMod val="50000"/>
                      </a:srgbClr>
                    </a:solidFill>
                    <a:latin typeface="Calibri"/>
                  </a:rPr>
                  <a:t>§</a:t>
                </a:r>
              </a:p>
            </p:txBody>
          </p:sp>
        </p:grpSp>
        <p:cxnSp>
          <p:nvCxnSpPr>
            <p:cNvPr id="195" name="Straight Connector 194"/>
            <p:cNvCxnSpPr/>
            <p:nvPr/>
          </p:nvCxnSpPr>
          <p:spPr>
            <a:xfrm>
              <a:off x="10380679" y="1884908"/>
              <a:ext cx="15876" cy="3354395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6" name="Straight Connector 195"/>
            <p:cNvCxnSpPr/>
            <p:nvPr/>
          </p:nvCxnSpPr>
          <p:spPr>
            <a:xfrm>
              <a:off x="2864968" y="5267878"/>
              <a:ext cx="8785794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7" name="Straight Connector 196"/>
            <p:cNvCxnSpPr/>
            <p:nvPr/>
          </p:nvCxnSpPr>
          <p:spPr>
            <a:xfrm>
              <a:off x="2885606" y="4213776"/>
              <a:ext cx="8790557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8" name="Straight Connector 197"/>
            <p:cNvCxnSpPr/>
            <p:nvPr/>
          </p:nvCxnSpPr>
          <p:spPr>
            <a:xfrm>
              <a:off x="7848452" y="2819947"/>
              <a:ext cx="0" cy="2917832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199" name="Straight Connector 198"/>
            <p:cNvCxnSpPr/>
            <p:nvPr/>
          </p:nvCxnSpPr>
          <p:spPr>
            <a:xfrm>
              <a:off x="9221729" y="2469109"/>
              <a:ext cx="0" cy="2762257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sp>
          <p:nvSpPr>
            <p:cNvPr id="200" name="Rectangle 15"/>
            <p:cNvSpPr/>
            <p:nvPr/>
          </p:nvSpPr>
          <p:spPr bwMode="auto">
            <a:xfrm>
              <a:off x="-140365" y="5225016"/>
              <a:ext cx="1846383" cy="471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80604020202020204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lnSpc>
                  <a:spcPct val="85000"/>
                </a:lnSpc>
                <a:defRPr/>
              </a:pPr>
              <a:r>
                <a:rPr lang="ru-RU" altLang="en-US" sz="1200" b="1" dirty="0">
                  <a:solidFill>
                    <a:srgbClr val="44C8F5">
                      <a:lumMod val="50000"/>
                    </a:srgbClr>
                  </a:solidFill>
                  <a:latin typeface="Calibri"/>
                  <a:sym typeface="Arial Bold" charset="0"/>
                </a:rPr>
                <a:t>Предпочтительные </a:t>
              </a:r>
              <a:r>
                <a:rPr lang="ru-RU" altLang="en-US" sz="1200" b="1" dirty="0" err="1">
                  <a:solidFill>
                    <a:srgbClr val="44C8F5">
                      <a:lumMod val="50000"/>
                    </a:srgbClr>
                  </a:solidFill>
                  <a:latin typeface="Calibri"/>
                  <a:sym typeface="Arial Bold" charset="0"/>
                </a:rPr>
                <a:t>скоропомощные</a:t>
              </a:r>
              <a:r>
                <a:rPr lang="ru-RU" altLang="en-US" sz="1200" b="1" dirty="0">
                  <a:solidFill>
                    <a:srgbClr val="44C8F5">
                      <a:lumMod val="50000"/>
                    </a:srgbClr>
                  </a:solidFill>
                  <a:latin typeface="Calibri"/>
                  <a:sym typeface="Arial Bold" charset="0"/>
                </a:rPr>
                <a:t> препараты</a:t>
              </a:r>
              <a:endParaRPr lang="en-US" altLang="en-US" sz="1200" b="1" dirty="0">
                <a:solidFill>
                  <a:srgbClr val="44C8F5">
                    <a:lumMod val="50000"/>
                  </a:srgbClr>
                </a:solidFill>
                <a:latin typeface="Calibri"/>
                <a:sym typeface="Arial Bold" charset="0"/>
              </a:endParaRPr>
            </a:p>
          </p:txBody>
        </p:sp>
        <p:sp>
          <p:nvSpPr>
            <p:cNvPr id="201" name="Content Placeholder 34"/>
            <p:cNvSpPr txBox="1"/>
            <p:nvPr/>
          </p:nvSpPr>
          <p:spPr>
            <a:xfrm>
              <a:off x="1810799" y="3667674"/>
              <a:ext cx="1065281" cy="506414"/>
            </a:xfrm>
            <a:prstGeom prst="rect">
              <a:avLst/>
            </a:prstGeom>
          </p:spPr>
          <p:txBody>
            <a:bodyPr lIns="0" tIns="0" rIns="0" bIns="0"/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kern="0" dirty="0">
                  <a:solidFill>
                    <a:srgbClr val="005B71"/>
                  </a:solidFill>
                  <a:latin typeface="Calibri"/>
                </a:rPr>
                <a:t>Низкие дозы ИКС-ФОР по потребности*</a:t>
              </a: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1829851" y="5634592"/>
              <a:ext cx="9846313" cy="317501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GB" sz="1600" kern="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03" name="Content Placeholder 34"/>
            <p:cNvSpPr txBox="1"/>
            <p:nvPr/>
          </p:nvSpPr>
          <p:spPr>
            <a:xfrm>
              <a:off x="3903260" y="5740954"/>
              <a:ext cx="6029715" cy="150813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>
              <a:defPPr>
                <a:defRPr lang="nl-BE"/>
              </a:defPPr>
              <a:lvl1pPr indent="0" algn="r">
                <a:lnSpc>
                  <a:spcPct val="85000"/>
                </a:lnSpc>
                <a:spcBef>
                  <a:spcPts val="0"/>
                </a:spcBef>
                <a:buFont typeface="Arial" panose="02080604020202020204" pitchFamily="34" charset="0"/>
                <a:buNone/>
                <a:defRPr sz="1400" b="1">
                  <a:solidFill>
                    <a:schemeClr val="accent2">
                      <a:lumMod val="75000"/>
                    </a:schemeClr>
                  </a:solidFill>
                </a:defRPr>
              </a:lvl1pPr>
              <a:lvl2pPr marL="180975" indent="-180975">
                <a:lnSpc>
                  <a:spcPct val="90000"/>
                </a:lnSpc>
                <a:spcBef>
                  <a:spcPts val="1000"/>
                </a:spcBef>
                <a:buClrTx/>
                <a:buFont typeface="Arial" panose="02080604020202020204" pitchFamily="34" charset="0"/>
                <a:buChar char="•"/>
                <a:defRPr>
                  <a:solidFill>
                    <a:schemeClr val="accent2">
                      <a:lumMod val="75000"/>
                    </a:schemeClr>
                  </a:solidFill>
                </a:defRPr>
              </a:lvl2pPr>
              <a:lvl3pPr marL="361950" indent="-180975">
                <a:lnSpc>
                  <a:spcPct val="90000"/>
                </a:lnSpc>
                <a:spcBef>
                  <a:spcPts val="600"/>
                </a:spcBef>
                <a:buClr>
                  <a:schemeClr val="tx2"/>
                </a:buClr>
                <a:buFont typeface="Calibri" panose="020F0502020204030204" pitchFamily="34" charset="0"/>
                <a:buChar char="‒"/>
                <a:defRPr sz="1600">
                  <a:solidFill>
                    <a:schemeClr val="accent2">
                      <a:lumMod val="75000"/>
                    </a:schemeClr>
                  </a:solidFill>
                </a:defRPr>
              </a:lvl3pPr>
              <a:lvl4pPr marL="533400" indent="-160655">
                <a:lnSpc>
                  <a:spcPct val="90000"/>
                </a:lnSpc>
                <a:spcBef>
                  <a:spcPts val="400"/>
                </a:spcBef>
                <a:buSzPct val="118000"/>
                <a:buFont typeface="Arial" panose="02080604020202020204" pitchFamily="34" charset="0"/>
                <a:buChar char="•"/>
                <a:defRPr sz="1400">
                  <a:solidFill>
                    <a:schemeClr val="accent2">
                      <a:lumMod val="75000"/>
                    </a:schemeClr>
                  </a:solidFill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</a:lvl9pPr>
            </a:lstStyle>
            <a:p>
              <a:pPr algn="ctr">
                <a:lnSpc>
                  <a:spcPct val="80000"/>
                </a:lnSpc>
                <a:defRPr/>
              </a:pPr>
              <a:r>
                <a:rPr lang="ru-RU" sz="1200" b="0" i="1" kern="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ротко-действующие бета-2-агонисты (КДБА) по потребности</a:t>
              </a:r>
            </a:p>
          </p:txBody>
        </p:sp>
        <p:cxnSp>
          <p:nvCxnSpPr>
            <p:cNvPr id="204" name="Straight Connector 203"/>
            <p:cNvCxnSpPr/>
            <p:nvPr/>
          </p:nvCxnSpPr>
          <p:spPr>
            <a:xfrm flipH="1">
              <a:off x="2874493" y="3097761"/>
              <a:ext cx="4983485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6" name="Straight Connector 205"/>
            <p:cNvCxnSpPr/>
            <p:nvPr/>
          </p:nvCxnSpPr>
          <p:spPr>
            <a:xfrm flipH="1">
              <a:off x="9221729" y="2477046"/>
              <a:ext cx="1127198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7" name="Straight Connector 206"/>
            <p:cNvCxnSpPr/>
            <p:nvPr/>
          </p:nvCxnSpPr>
          <p:spPr>
            <a:xfrm flipH="1">
              <a:off x="10371154" y="1888083"/>
              <a:ext cx="1298659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09" name="Straight Connector 208"/>
            <p:cNvCxnSpPr/>
            <p:nvPr/>
          </p:nvCxnSpPr>
          <p:spPr>
            <a:xfrm>
              <a:off x="1837788" y="5955268"/>
              <a:ext cx="9838375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grpSp>
          <p:nvGrpSpPr>
            <p:cNvPr id="196663" name="Group 209"/>
            <p:cNvGrpSpPr>
              <a:grpSpLocks/>
            </p:cNvGrpSpPr>
            <p:nvPr/>
          </p:nvGrpSpPr>
          <p:grpSpPr bwMode="auto">
            <a:xfrm>
              <a:off x="1829900" y="4213777"/>
              <a:ext cx="9823938" cy="1415844"/>
              <a:chOff x="1817370" y="4213777"/>
              <a:chExt cx="84027249" cy="1415844"/>
            </a:xfrm>
          </p:grpSpPr>
          <p:cxnSp>
            <p:nvCxnSpPr>
              <p:cNvPr id="211" name="Straight Connector 210"/>
              <p:cNvCxnSpPr/>
              <p:nvPr/>
            </p:nvCxnSpPr>
            <p:spPr>
              <a:xfrm>
                <a:off x="1816951" y="5267878"/>
                <a:ext cx="8812941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2" name="Straight Connector 211"/>
              <p:cNvCxnSpPr/>
              <p:nvPr/>
            </p:nvCxnSpPr>
            <p:spPr>
              <a:xfrm>
                <a:off x="1844109" y="4213776"/>
                <a:ext cx="8785783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3" name="Straight Connector 212"/>
              <p:cNvCxnSpPr/>
              <p:nvPr/>
            </p:nvCxnSpPr>
            <p:spPr>
              <a:xfrm>
                <a:off x="1816951" y="5629829"/>
                <a:ext cx="84028515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5"/>
                </a:solidFill>
                <a:prstDash val="solid"/>
                <a:miter lim="800000"/>
              </a:ln>
              <a:effectLst/>
            </p:spPr>
          </p:cxnSp>
        </p:grpSp>
        <p:cxnSp>
          <p:nvCxnSpPr>
            <p:cNvPr id="215" name="Straight Connector 214"/>
            <p:cNvCxnSpPr/>
            <p:nvPr/>
          </p:nvCxnSpPr>
          <p:spPr>
            <a:xfrm flipH="1">
              <a:off x="7857978" y="2819947"/>
              <a:ext cx="1365338" cy="0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>
            <a:xfrm>
              <a:off x="11666638" y="1908720"/>
              <a:ext cx="0" cy="4043373"/>
            </a:xfrm>
            <a:prstGeom prst="line">
              <a:avLst/>
            </a:prstGeom>
            <a:noFill/>
            <a:ln w="19050" cap="flat" cmpd="sng" algn="ctr">
              <a:solidFill>
                <a:schemeClr val="accent5"/>
              </a:solidFill>
              <a:prstDash val="sysDot"/>
              <a:miter lim="800000"/>
            </a:ln>
            <a:effectLst/>
          </p:spPr>
        </p:cxnSp>
      </p:grpSp>
      <p:sp>
        <p:nvSpPr>
          <p:cNvPr id="69" name="Content Placeholder 1"/>
          <p:cNvSpPr txBox="1"/>
          <p:nvPr/>
        </p:nvSpPr>
        <p:spPr>
          <a:xfrm>
            <a:off x="253604" y="1522413"/>
            <a:ext cx="1952625" cy="685800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80604020202020204" pitchFamily="34" charset="0"/>
              <a:buNone/>
              <a:defRPr sz="20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Calibri" panose="020F0502020204030204" pitchFamily="34" charset="0"/>
              <a:buChar char="‒"/>
              <a:defRPr sz="1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3400" indent="-160655" algn="l" defTabSz="914400" rtl="0" eaLnBrk="1" latinLnBrk="0" hangingPunct="1">
              <a:lnSpc>
                <a:spcPct val="90000"/>
              </a:lnSpc>
              <a:spcBef>
                <a:spcPts val="400"/>
              </a:spcBef>
              <a:buSzPct val="118000"/>
              <a:buFont typeface="Calibri" panose="020F0502020204030204" pitchFamily="34" charset="0"/>
              <a:buChar char="‐"/>
              <a:defRPr sz="14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400" b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Персонализированный подход к пациенту с бронхиальной астмой</a:t>
            </a:r>
            <a:r>
              <a:rPr lang="en-GB" sz="1400" b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:</a:t>
            </a:r>
          </a:p>
          <a:p>
            <a:pPr>
              <a:spcBef>
                <a:spcPts val="400"/>
              </a:spcBef>
              <a:defRPr/>
            </a:pPr>
            <a:r>
              <a:rPr lang="ru-RU" sz="1200" i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Оценить, корректировать, </a:t>
            </a:r>
          </a:p>
          <a:p>
            <a:pPr>
              <a:spcBef>
                <a:spcPts val="400"/>
              </a:spcBef>
              <a:defRPr/>
            </a:pPr>
            <a:r>
              <a:rPr lang="ru-RU" sz="1200" i="1" dirty="0">
                <a:solidFill>
                  <a:srgbClr val="988984">
                    <a:lumMod val="50000"/>
                  </a:srgbClr>
                </a:solidFill>
                <a:latin typeface="Calibri"/>
              </a:rPr>
              <a:t>проверить ответ</a:t>
            </a:r>
            <a:endParaRPr lang="en-GB" sz="1200" i="1" dirty="0">
              <a:solidFill>
                <a:srgbClr val="988984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70" name="Content Placeholder 1"/>
          <p:cNvSpPr txBox="1"/>
          <p:nvPr/>
        </p:nvSpPr>
        <p:spPr>
          <a:xfrm>
            <a:off x="239317" y="1200150"/>
            <a:ext cx="2338388" cy="311150"/>
          </a:xfrm>
          <a:prstGeom prst="rect">
            <a:avLst/>
          </a:prstGeom>
        </p:spPr>
        <p:txBody>
          <a:bodyPr lIns="0" tIns="0" rIns="0" bIns="0">
            <a:normAutofit fontScale="85000"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2400"/>
              </a:spcBef>
              <a:buFont typeface="Arial" panose="02080604020202020204" pitchFamily="34" charset="0"/>
              <a:buNone/>
              <a:defRPr sz="20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Tx/>
              <a:buFont typeface="Calibri" panose="020F0502020204030204" pitchFamily="34" charset="0"/>
              <a:buChar char="‒"/>
              <a:defRPr sz="16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3400" indent="-160655" algn="l" defTabSz="914400" rtl="0" eaLnBrk="1" latinLnBrk="0" hangingPunct="1">
              <a:lnSpc>
                <a:spcPct val="90000"/>
              </a:lnSpc>
              <a:spcBef>
                <a:spcPts val="400"/>
              </a:spcBef>
              <a:buSzPct val="118000"/>
              <a:buFont typeface="Calibri" panose="020F0502020204030204" pitchFamily="34" charset="0"/>
              <a:buChar char="‐"/>
              <a:defRPr sz="1400" kern="120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8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800" b="1" dirty="0" smtClean="0">
                <a:solidFill>
                  <a:srgbClr val="FF0000"/>
                </a:solidFill>
                <a:latin typeface="Calibri"/>
              </a:rPr>
              <a:t>Подростки 12+</a:t>
            </a:r>
            <a:r>
              <a:rPr lang="en-GB" sz="1800" b="1" dirty="0" smtClean="0">
                <a:solidFill>
                  <a:srgbClr val="FF0000"/>
                </a:solidFill>
                <a:latin typeface="Calibri"/>
              </a:rPr>
              <a:t> </a:t>
            </a:r>
            <a:r>
              <a:rPr lang="ru-RU" sz="1800" b="1" dirty="0">
                <a:solidFill>
                  <a:srgbClr val="FF0000"/>
                </a:solidFill>
                <a:latin typeface="Calibri"/>
              </a:rPr>
              <a:t>и </a:t>
            </a:r>
            <a:r>
              <a:rPr lang="ru-RU" sz="1800" b="1" dirty="0" smtClean="0">
                <a:solidFill>
                  <a:srgbClr val="FF0000"/>
                </a:solidFill>
                <a:latin typeface="Calibri"/>
              </a:rPr>
              <a:t>взрослые</a:t>
            </a:r>
            <a:endParaRPr lang="en-GB" sz="1800" b="1" dirty="0">
              <a:solidFill>
                <a:srgbClr val="FF0000"/>
              </a:solidFill>
              <a:latin typeface="Calibri"/>
            </a:endParaRPr>
          </a:p>
        </p:txBody>
      </p:sp>
      <p:grpSp>
        <p:nvGrpSpPr>
          <p:cNvPr id="196671" name="Group 11"/>
          <p:cNvGrpSpPr>
            <a:grpSpLocks/>
          </p:cNvGrpSpPr>
          <p:nvPr/>
        </p:nvGrpSpPr>
        <p:grpSpPr bwMode="auto">
          <a:xfrm>
            <a:off x="2624141" y="1071563"/>
            <a:ext cx="3749279" cy="1998662"/>
            <a:chOff x="3581701" y="1123217"/>
            <a:chExt cx="4999174" cy="1998655"/>
          </a:xfrm>
        </p:grpSpPr>
        <p:grpSp>
          <p:nvGrpSpPr>
            <p:cNvPr id="196672" name="Group 72"/>
            <p:cNvGrpSpPr>
              <a:grpSpLocks/>
            </p:cNvGrpSpPr>
            <p:nvPr/>
          </p:nvGrpSpPr>
          <p:grpSpPr bwMode="auto">
            <a:xfrm>
              <a:off x="4709441" y="1123217"/>
              <a:ext cx="1369803" cy="1365174"/>
              <a:chOff x="4812732" y="1295120"/>
              <a:chExt cx="1835205" cy="1848515"/>
            </a:xfrm>
          </p:grpSpPr>
          <p:grpSp>
            <p:nvGrpSpPr>
              <p:cNvPr id="196673" name="Group 73"/>
              <p:cNvGrpSpPr>
                <a:grpSpLocks/>
              </p:cNvGrpSpPr>
              <p:nvPr/>
            </p:nvGrpSpPr>
            <p:grpSpPr bwMode="auto">
              <a:xfrm>
                <a:off x="4812732" y="1295120"/>
                <a:ext cx="1835205" cy="1848515"/>
                <a:chOff x="5148308" y="1242079"/>
                <a:chExt cx="1820384" cy="1833586"/>
              </a:xfrm>
            </p:grpSpPr>
            <p:sp>
              <p:nvSpPr>
                <p:cNvPr id="78" name="Block Arc 77"/>
                <p:cNvSpPr/>
                <p:nvPr/>
              </p:nvSpPr>
              <p:spPr>
                <a:xfrm>
                  <a:off x="5147532" y="1254872"/>
                  <a:ext cx="1820712" cy="1820888"/>
                </a:xfrm>
                <a:prstGeom prst="blockArc">
                  <a:avLst>
                    <a:gd name="adj1" fmla="val 9319573"/>
                    <a:gd name="adj2" fmla="val 16144205"/>
                    <a:gd name="adj3" fmla="val 21393"/>
                  </a:avLst>
                </a:prstGeom>
                <a:solidFill>
                  <a:srgbClr val="4A7097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79" name="Block Arc 78"/>
                <p:cNvSpPr/>
                <p:nvPr/>
              </p:nvSpPr>
              <p:spPr>
                <a:xfrm rot="8154758">
                  <a:off x="5147532" y="1254872"/>
                  <a:ext cx="1820712" cy="1820888"/>
                </a:xfrm>
                <a:prstGeom prst="blockArc">
                  <a:avLst>
                    <a:gd name="adj1" fmla="val 7996003"/>
                    <a:gd name="adj2" fmla="val 16144205"/>
                    <a:gd name="adj3" fmla="val 21393"/>
                  </a:avLst>
                </a:prstGeom>
                <a:solidFill>
                  <a:schemeClr val="accent3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80" name="Block Arc 79"/>
                <p:cNvSpPr/>
                <p:nvPr/>
              </p:nvSpPr>
              <p:spPr>
                <a:xfrm rot="14400000">
                  <a:off x="5147444" y="1254960"/>
                  <a:ext cx="1820888" cy="1820712"/>
                </a:xfrm>
                <a:prstGeom prst="blockArc">
                  <a:avLst>
                    <a:gd name="adj1" fmla="val 9892982"/>
                    <a:gd name="adj2" fmla="val 16502855"/>
                    <a:gd name="adj3" fmla="val 21348"/>
                  </a:avLst>
                </a:prstGeom>
                <a:solidFill>
                  <a:srgbClr val="FF99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81" name="Isosceles Triangle 80"/>
                <p:cNvSpPr/>
                <p:nvPr/>
              </p:nvSpPr>
              <p:spPr>
                <a:xfrm rot="5400000">
                  <a:off x="5916467" y="1367676"/>
                  <a:ext cx="413644" cy="162451"/>
                </a:xfrm>
                <a:prstGeom prst="triangle">
                  <a:avLst/>
                </a:prstGeom>
                <a:solidFill>
                  <a:srgbClr val="4A7097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82" name="Isosceles Triangle 81"/>
                <p:cNvSpPr/>
                <p:nvPr/>
              </p:nvSpPr>
              <p:spPr>
                <a:xfrm rot="13525927">
                  <a:off x="6305716" y="2645911"/>
                  <a:ext cx="413644" cy="160341"/>
                </a:xfrm>
                <a:prstGeom prst="triangle">
                  <a:avLst/>
                </a:prstGeom>
                <a:solidFill>
                  <a:schemeClr val="accent3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  <p:sp>
              <p:nvSpPr>
                <p:cNvPr id="83" name="Isosceles Triangle 82"/>
                <p:cNvSpPr/>
                <p:nvPr/>
              </p:nvSpPr>
              <p:spPr>
                <a:xfrm rot="20140691">
                  <a:off x="5168629" y="2314569"/>
                  <a:ext cx="413510" cy="162046"/>
                </a:xfrm>
                <a:prstGeom prst="triangle">
                  <a:avLst/>
                </a:prstGeom>
                <a:solidFill>
                  <a:srgbClr val="FF9900"/>
                </a:solidFill>
                <a:ln w="12700" cap="flat" cmpd="sng" algn="ctr">
                  <a:noFill/>
                  <a:prstDash val="solid"/>
                  <a:miter lim="800000"/>
                </a:ln>
                <a:effectLst>
                  <a:outerShdw blurRad="50800" dist="38100" dir="16200000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/>
                <a:p>
                  <a:pPr algn="ctr">
                    <a:defRPr/>
                  </a:pPr>
                  <a:endParaRPr lang="en-GB" sz="900" kern="0" dirty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75" name="Rectangle 74"/>
              <p:cNvSpPr/>
              <p:nvPr/>
            </p:nvSpPr>
            <p:spPr>
              <a:xfrm rot="992410">
                <a:off x="4953542" y="1753640"/>
                <a:ext cx="1484853" cy="1197112"/>
              </a:xfrm>
              <a:prstGeom prst="rect">
                <a:avLst/>
              </a:prstGeom>
              <a:noFill/>
            </p:spPr>
            <p:txBody>
              <a:bodyPr spcFirstLastPara="1" wrap="none">
                <a:prstTxWarp prst="textArchDown">
                  <a:avLst>
                    <a:gd name="adj" fmla="val 1493585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ea typeface="MS PGothic" charset="0"/>
                    <a:cs typeface="Arial"/>
                  </a:rPr>
                  <a:t>Корректировать</a:t>
                </a:r>
                <a:endParaRPr lang="en-US" sz="900" b="1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ea typeface="MS PGothic" charset="0"/>
                  <a:cs typeface="MS PGothic" charset="0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>
              <a:xfrm rot="18616622">
                <a:off x="4975999" y="1513386"/>
                <a:ext cx="1453794" cy="133168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spcFirstLastPara="1" wrap="none">
                <a:prstTxWarp prst="textArchUp">
                  <a:avLst>
                    <a:gd name="adj" fmla="val 5525375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kern="0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cs typeface="Arial"/>
                  </a:rPr>
                  <a:t>Проверить ответ</a:t>
                </a:r>
                <a:endParaRPr lang="en-AU" sz="900" b="1" kern="0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77" name="Rectangle 76"/>
              <p:cNvSpPr/>
              <p:nvPr/>
            </p:nvSpPr>
            <p:spPr>
              <a:xfrm rot="4782751">
                <a:off x="5068198" y="1557966"/>
                <a:ext cx="1365264" cy="133168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spcFirstLastPara="1" wrap="none">
                <a:prstTxWarp prst="textArchUp">
                  <a:avLst>
                    <a:gd name="adj" fmla="val 5457498"/>
                  </a:avLst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ru-RU" sz="900" b="1" kern="0" dirty="0">
                    <a:ln w="12700">
                      <a:noFill/>
                      <a:prstDash val="solid"/>
                    </a:ln>
                    <a:solidFill>
                      <a:prstClr val="white"/>
                    </a:solidFill>
                    <a:latin typeface="Calibri"/>
                    <a:cs typeface="Arial"/>
                  </a:rPr>
                  <a:t>Оценить</a:t>
                </a:r>
                <a:endParaRPr lang="en-AU" sz="900" b="1" kern="0" dirty="0">
                  <a:ln w="12700">
                    <a:noFill/>
                    <a:prstDash val="solid"/>
                  </a:ln>
                  <a:solidFill>
                    <a:prstClr val="white"/>
                  </a:solidFill>
                  <a:latin typeface="Calibri"/>
                  <a:cs typeface="Arial"/>
                </a:endParaRPr>
              </a:p>
            </p:txBody>
          </p:sp>
        </p:grpSp>
        <p:cxnSp>
          <p:nvCxnSpPr>
            <p:cNvPr id="196683" name="Straight Arrow Connector 83"/>
            <p:cNvCxnSpPr>
              <a:cxnSpLocks noChangeShapeType="1"/>
            </p:cNvCxnSpPr>
            <p:nvPr/>
          </p:nvCxnSpPr>
          <p:spPr bwMode="auto">
            <a:xfrm flipH="1">
              <a:off x="3581701" y="1312489"/>
              <a:ext cx="1394169" cy="0"/>
            </a:xfrm>
            <a:prstGeom prst="straightConnector1">
              <a:avLst/>
            </a:prstGeom>
            <a:noFill/>
            <a:ln w="12700">
              <a:solidFill>
                <a:srgbClr val="4A7097"/>
              </a:solidFill>
              <a:miter lim="800000"/>
              <a:headEnd/>
              <a:tailEnd type="oval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5" name="Content Placeholder 12"/>
            <p:cNvSpPr txBox="1"/>
            <p:nvPr/>
          </p:nvSpPr>
          <p:spPr>
            <a:xfrm>
              <a:off x="3594401" y="1362928"/>
              <a:ext cx="1390688" cy="731835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Симптомы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Обострения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обочные эффекты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Функция легких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Удовлетворенность пациента</a:t>
              </a:r>
              <a:endParaRPr lang="en-GB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cxnSp>
          <p:nvCxnSpPr>
            <p:cNvPr id="86" name="Straight Arrow Connector 85"/>
            <p:cNvCxnSpPr/>
            <p:nvPr/>
          </p:nvCxnSpPr>
          <p:spPr>
            <a:xfrm flipV="1">
              <a:off x="6026518" y="1248629"/>
              <a:ext cx="0" cy="454023"/>
            </a:xfrm>
            <a:prstGeom prst="straightConnector1">
              <a:avLst/>
            </a:prstGeom>
            <a:noFill/>
            <a:ln w="12700" cap="flat" cmpd="sng" algn="ctr">
              <a:solidFill>
                <a:schemeClr val="accent3">
                  <a:lumMod val="75000"/>
                </a:schemeClr>
              </a:solidFill>
              <a:prstDash val="solid"/>
              <a:miter lim="800000"/>
              <a:tailEnd type="oval" w="med" len="med"/>
            </a:ln>
            <a:effectLst/>
          </p:spPr>
        </p:cxnSp>
        <p:sp>
          <p:nvSpPr>
            <p:cNvPr id="88" name="Content Placeholder 12"/>
            <p:cNvSpPr txBox="1"/>
            <p:nvPr/>
          </p:nvSpPr>
          <p:spPr>
            <a:xfrm>
              <a:off x="6102720" y="1281966"/>
              <a:ext cx="2478155" cy="898522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Подтверждение диагноза, если требуется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нтроль симптомов заболевания и модифицируемых факторов риска (включая функцию легких)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 err="1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морбидност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ехника использования ингалятора и приверженность терапи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Цели терапии для пациента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sp>
          <p:nvSpPr>
            <p:cNvPr id="89" name="Content Placeholder 12"/>
            <p:cNvSpPr txBox="1"/>
            <p:nvPr/>
          </p:nvSpPr>
          <p:spPr>
            <a:xfrm>
              <a:off x="5612169" y="2474174"/>
              <a:ext cx="2474979" cy="647698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2400"/>
                </a:spcBef>
                <a:buFont typeface="Arial" panose="02080604020202020204" pitchFamily="34" charset="0"/>
                <a:buNone/>
                <a:defRPr sz="20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180975" indent="-180975" algn="l" defTabSz="914400" rtl="0" eaLnBrk="1" latinLnBrk="0" hangingPunct="1">
                <a:lnSpc>
                  <a:spcPct val="90000"/>
                </a:lnSpc>
                <a:spcBef>
                  <a:spcPts val="12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361950" indent="-180975" algn="l" defTabSz="914400" rtl="0" eaLnBrk="1" latinLnBrk="0" hangingPunct="1">
                <a:lnSpc>
                  <a:spcPct val="90000"/>
                </a:lnSpc>
                <a:spcBef>
                  <a:spcPts val="600"/>
                </a:spcBef>
                <a:buClrTx/>
                <a:buFont typeface="Calibri" panose="020F0502020204030204" pitchFamily="34" charset="0"/>
                <a:buChar char="‒"/>
                <a:defRPr sz="16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533400" indent="-160655" algn="l" defTabSz="914400" rtl="0" eaLnBrk="1" latinLnBrk="0" hangingPunct="1">
                <a:lnSpc>
                  <a:spcPct val="90000"/>
                </a:lnSpc>
                <a:spcBef>
                  <a:spcPts val="400"/>
                </a:spcBef>
                <a:buSzPct val="118000"/>
                <a:buFont typeface="Calibri" panose="020F0502020204030204" pitchFamily="34" charset="0"/>
                <a:buChar char="‐"/>
                <a:defRPr sz="1400" kern="1200">
                  <a:solidFill>
                    <a:schemeClr val="accent2">
                      <a:lumMod val="50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8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Лечение, направленное на модифицируемые факторы риска и </a:t>
              </a:r>
              <a:r>
                <a:rPr lang="ru-RU" sz="900" dirty="0" err="1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коморбидност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Немедикаментозные стратегии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Образование</a:t>
              </a:r>
              <a:r>
                <a:rPr lang="en-US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и</a:t>
              </a:r>
              <a:r>
                <a:rPr lang="en-US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 </a:t>
              </a: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ренировка навыков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  <a:p>
              <a:pPr lvl="1">
                <a:lnSpc>
                  <a:spcPct val="80000"/>
                </a:lnSpc>
                <a:spcBef>
                  <a:spcPts val="200"/>
                </a:spcBef>
                <a:defRPr/>
              </a:pPr>
              <a:r>
                <a:rPr lang="ru-RU" sz="900" dirty="0">
                  <a:solidFill>
                    <a:srgbClr val="988984">
                      <a:lumMod val="50000"/>
                    </a:srgbClr>
                  </a:solidFill>
                  <a:latin typeface="Calibri"/>
                </a:rPr>
                <a:t>Терапевтические опции для лечения астмы</a:t>
              </a:r>
              <a:endParaRPr lang="en-US" sz="900" dirty="0">
                <a:solidFill>
                  <a:srgbClr val="988984">
                    <a:lumMod val="50000"/>
                  </a:srgbClr>
                </a:solidFill>
                <a:latin typeface="Calibri"/>
              </a:endParaRPr>
            </a:p>
          </p:txBody>
        </p:sp>
        <p:cxnSp>
          <p:nvCxnSpPr>
            <p:cNvPr id="90" name="Straight Arrow Connector 89"/>
            <p:cNvCxnSpPr/>
            <p:nvPr/>
          </p:nvCxnSpPr>
          <p:spPr>
            <a:xfrm>
              <a:off x="5753460" y="2347175"/>
              <a:ext cx="1736772" cy="0"/>
            </a:xfrm>
            <a:prstGeom prst="straightConnector1">
              <a:avLst/>
            </a:prstGeom>
            <a:noFill/>
            <a:ln w="12700" cap="flat" cmpd="sng" algn="ctr">
              <a:solidFill>
                <a:schemeClr val="accent6"/>
              </a:solidFill>
              <a:prstDash val="solid"/>
              <a:miter lim="800000"/>
              <a:tailEnd type="oval" w="med" len="med"/>
            </a:ln>
            <a:effectLst/>
          </p:spPr>
        </p:cxnSp>
      </p:grpSp>
      <p:sp>
        <p:nvSpPr>
          <p:cNvPr id="87" name="Rectangle: Top Corners Rounded 29"/>
          <p:cNvSpPr/>
          <p:nvPr/>
        </p:nvSpPr>
        <p:spPr>
          <a:xfrm>
            <a:off x="8212936" y="0"/>
            <a:ext cx="645319" cy="1092200"/>
          </a:xfrm>
          <a:prstGeom prst="round2SameRect">
            <a:avLst>
              <a:gd name="adj1" fmla="val 0"/>
              <a:gd name="adj2" fmla="val 50000"/>
            </a:avLst>
          </a:prstGeom>
          <a:solidFill>
            <a:schemeClr val="accent1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6690" name="Picture 3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936" y="190509"/>
            <a:ext cx="645319" cy="885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36635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ChangeArrowheads="1"/>
          </p:cNvSpPr>
          <p:nvPr/>
        </p:nvSpPr>
        <p:spPr bwMode="auto">
          <a:xfrm>
            <a:off x="1331921" y="544594"/>
            <a:ext cx="712787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1428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428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428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428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428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428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428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428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428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C00000"/>
                </a:solidFill>
                <a:latin typeface="Arial Narrow" panose="020B0606020202030204" pitchFamily="34" charset="0"/>
              </a:rPr>
              <a:t>ЛЕЧЕНИЕ бронхиальной астмы</a:t>
            </a:r>
          </a:p>
        </p:txBody>
      </p:sp>
      <p:pic>
        <p:nvPicPr>
          <p:cNvPr id="81923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844677"/>
            <a:ext cx="8113025" cy="3664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24" name="Rectangle 1"/>
          <p:cNvSpPr>
            <a:spLocks noChangeArrowheads="1"/>
          </p:cNvSpPr>
          <p:nvPr/>
        </p:nvSpPr>
        <p:spPr bwMode="auto">
          <a:xfrm>
            <a:off x="1115617" y="6042091"/>
            <a:ext cx="7488636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1100" b="1" i="1" dirty="0">
                <a:solidFill>
                  <a:srgbClr val="404040"/>
                </a:solidFill>
                <a:latin typeface="Arial Narrow" panose="020B0606020202030204" pitchFamily="34" charset="0"/>
                <a:ea typeface="MS PGothic" panose="020B0600070205080204" pitchFamily="34" charset="-128"/>
              </a:rPr>
              <a:t>Национальная программа «Бронхиальная астма у детей. Стратегия лечения и профилактика», 4-е </a:t>
            </a:r>
            <a:r>
              <a:rPr lang="ru-RU" altLang="ru-RU" sz="1100" b="1" i="1" dirty="0" err="1">
                <a:solidFill>
                  <a:srgbClr val="404040"/>
                </a:solidFill>
                <a:latin typeface="Arial Narrow" panose="020B0606020202030204" pitchFamily="34" charset="0"/>
                <a:ea typeface="MS PGothic" panose="020B0600070205080204" pitchFamily="34" charset="-128"/>
              </a:rPr>
              <a:t>изд</a:t>
            </a:r>
            <a:r>
              <a:rPr lang="ru-RU" altLang="ru-RU" sz="1100" b="1" i="1" dirty="0">
                <a:solidFill>
                  <a:srgbClr val="404040"/>
                </a:solidFill>
                <a:latin typeface="Arial Narrow" panose="020B0606020202030204" pitchFamily="34" charset="0"/>
                <a:ea typeface="MS PGothic" panose="020B0600070205080204" pitchFamily="34" charset="-128"/>
              </a:rPr>
              <a:t> </a:t>
            </a:r>
            <a:r>
              <a:rPr lang="ru-RU" altLang="ru-RU" sz="1100" b="1" i="1" dirty="0" err="1">
                <a:solidFill>
                  <a:srgbClr val="404040"/>
                </a:solidFill>
                <a:latin typeface="Arial Narrow" panose="020B0606020202030204" pitchFamily="34" charset="0"/>
                <a:ea typeface="MS PGothic" panose="020B0600070205080204" pitchFamily="34" charset="-128"/>
              </a:rPr>
              <a:t>перераб</a:t>
            </a:r>
            <a:r>
              <a:rPr lang="ru-RU" altLang="ru-RU" sz="1100" b="1" i="1" dirty="0">
                <a:solidFill>
                  <a:srgbClr val="404040"/>
                </a:solidFill>
                <a:latin typeface="Arial Narrow" panose="020B0606020202030204" pitchFamily="34" charset="0"/>
                <a:ea typeface="MS PGothic" panose="020B0600070205080204" pitchFamily="34" charset="-128"/>
              </a:rPr>
              <a:t>.  и доп. Москва, 2017.-184 с. </a:t>
            </a:r>
            <a:endParaRPr lang="ru-RU" altLang="ru-RU" sz="1100" b="1" dirty="0">
              <a:solidFill>
                <a:prstClr val="black"/>
              </a:solidFill>
              <a:latin typeface="Arial Narrow" panose="020B060602020203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702394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>
          <a:xfrm>
            <a:off x="806450" y="995363"/>
            <a:ext cx="7180263" cy="1090612"/>
          </a:xfrm>
          <a:gradFill rotWithShape="1">
            <a:gsLst>
              <a:gs pos="0">
                <a:srgbClr val="FFCC66"/>
              </a:gs>
              <a:gs pos="100000">
                <a:srgbClr val="FFCC66">
                  <a:gamma/>
                  <a:shade val="56078"/>
                  <a:invGamma/>
                </a:srgbClr>
              </a:gs>
            </a:gsLst>
            <a:lin ang="5400000" scaled="1"/>
          </a:gradFill>
        </p:spPr>
        <p:txBody>
          <a:bodyPr/>
          <a:lstStyle/>
          <a:p>
            <a:r>
              <a:rPr lang="en-US" sz="4000">
                <a:solidFill>
                  <a:srgbClr val="CC0000"/>
                </a:solidFill>
              </a:rPr>
              <a:t>Лекарственные средства</a:t>
            </a:r>
            <a:r>
              <a:rPr lang="ru-RU" sz="4000">
                <a:solidFill>
                  <a:srgbClr val="CC0000"/>
                </a:solidFill>
              </a:rPr>
              <a:t/>
            </a:r>
            <a:br>
              <a:rPr lang="ru-RU" sz="4000">
                <a:solidFill>
                  <a:srgbClr val="CC0000"/>
                </a:solidFill>
              </a:rPr>
            </a:br>
            <a:r>
              <a:rPr lang="ru-RU" sz="4000">
                <a:solidFill>
                  <a:srgbClr val="CC0000"/>
                </a:solidFill>
              </a:rPr>
              <a:t>при БА</a:t>
            </a:r>
          </a:p>
        </p:txBody>
      </p:sp>
      <p:sp>
        <p:nvSpPr>
          <p:cNvPr id="57347" name="Line 3"/>
          <p:cNvSpPr>
            <a:spLocks noChangeShapeType="1"/>
          </p:cNvSpPr>
          <p:nvPr/>
        </p:nvSpPr>
        <p:spPr bwMode="auto">
          <a:xfrm flipH="1">
            <a:off x="2422525" y="2232025"/>
            <a:ext cx="1203325" cy="66357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7348" name="Line 4"/>
          <p:cNvSpPr>
            <a:spLocks noChangeShapeType="1"/>
          </p:cNvSpPr>
          <p:nvPr/>
        </p:nvSpPr>
        <p:spPr bwMode="auto">
          <a:xfrm>
            <a:off x="5526088" y="2187575"/>
            <a:ext cx="1031875" cy="8175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7349" name="Rectangle 5"/>
          <p:cNvSpPr>
            <a:spLocks noChangeArrowheads="1"/>
          </p:cNvSpPr>
          <p:nvPr/>
        </p:nvSpPr>
        <p:spPr bwMode="auto">
          <a:xfrm>
            <a:off x="425450" y="3508375"/>
            <a:ext cx="4483100" cy="236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000000"/>
                </a:solidFill>
              </a:rPr>
              <a:t>Препараты</a:t>
            </a:r>
            <a:r>
              <a:rPr lang="en-US" sz="2400" b="1" dirty="0" smtClean="0">
                <a:solidFill>
                  <a:srgbClr val="000000"/>
                </a:solidFill>
              </a:rPr>
              <a:t> </a:t>
            </a:r>
            <a:r>
              <a:rPr lang="ru-RU" sz="2400" b="1" dirty="0" smtClean="0">
                <a:solidFill>
                  <a:srgbClr val="000000"/>
                </a:solidFill>
              </a:rPr>
              <a:t>для базисной (поддерживающей) терапии: </a:t>
            </a:r>
            <a:br>
              <a:rPr lang="ru-RU" sz="2400" b="1" dirty="0" smtClean="0">
                <a:solidFill>
                  <a:srgbClr val="000000"/>
                </a:solidFill>
              </a:rPr>
            </a:br>
            <a:r>
              <a:rPr lang="ru-RU" sz="2600" b="1" i="1" dirty="0" smtClean="0">
                <a:solidFill>
                  <a:srgbClr val="333399"/>
                </a:solidFill>
              </a:rPr>
              <a:t>(</a:t>
            </a:r>
            <a:r>
              <a:rPr lang="ru-RU" sz="2000" b="1" i="1" dirty="0" smtClean="0">
                <a:solidFill>
                  <a:srgbClr val="333399"/>
                </a:solidFill>
              </a:rPr>
              <a:t>контроль заболевания, предупреждение симптомов</a:t>
            </a:r>
            <a:r>
              <a:rPr lang="en-US" sz="2000" b="1" i="1" dirty="0" smtClean="0">
                <a:solidFill>
                  <a:srgbClr val="333399"/>
                </a:solidFill>
              </a:rPr>
              <a:t>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 b="1" i="1" dirty="0" smtClean="0">
              <a:solidFill>
                <a:srgbClr val="333399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000000"/>
                </a:solidFill>
              </a:rPr>
              <a:t>Применяют регулярно и длительно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dirty="0" smtClean="0">
                <a:solidFill>
                  <a:srgbClr val="000000"/>
                </a:solidFill>
              </a:rPr>
              <a:t>для сохранения контроля</a:t>
            </a:r>
            <a:r>
              <a:rPr lang="ru-RU" sz="2000" b="1" i="1" dirty="0" smtClean="0">
                <a:solidFill>
                  <a:srgbClr val="BBE0E3"/>
                </a:solidFill>
              </a:rPr>
              <a:t> </a:t>
            </a:r>
          </a:p>
        </p:txBody>
      </p:sp>
      <p:sp>
        <p:nvSpPr>
          <p:cNvPr id="57350" name="Rectangle 6"/>
          <p:cNvSpPr>
            <a:spLocks noChangeArrowheads="1"/>
          </p:cNvSpPr>
          <p:nvPr/>
        </p:nvSpPr>
        <p:spPr bwMode="auto">
          <a:xfrm>
            <a:off x="5238750" y="3332163"/>
            <a:ext cx="4011613" cy="274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="1" dirty="0" smtClean="0">
                <a:solidFill>
                  <a:srgbClr val="000000"/>
                </a:solidFill>
              </a:rPr>
              <a:t>Препараты для облегчения симптомов</a:t>
            </a:r>
            <a:r>
              <a:rPr lang="ru-RU" sz="2800" dirty="0" smtClean="0">
                <a:solidFill>
                  <a:srgbClr val="000000"/>
                </a:solidFill>
              </a:rPr>
              <a:t> </a:t>
            </a:r>
            <a:r>
              <a:rPr lang="en-US" sz="2000" b="1" i="1" dirty="0" smtClean="0">
                <a:solidFill>
                  <a:srgbClr val="333399"/>
                </a:solidFill>
              </a:rPr>
              <a:t>(</a:t>
            </a:r>
            <a:r>
              <a:rPr lang="ru-RU" sz="2000" b="1" i="1" dirty="0" smtClean="0">
                <a:solidFill>
                  <a:srgbClr val="333399"/>
                </a:solidFill>
              </a:rPr>
              <a:t>«спасательной» терапии: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b="1" i="1" dirty="0" smtClean="0">
                <a:solidFill>
                  <a:srgbClr val="333399"/>
                </a:solidFill>
              </a:rPr>
              <a:t>для устранения </a:t>
            </a:r>
            <a:r>
              <a:rPr lang="ru-RU" sz="2000" b="1" i="1" dirty="0" err="1" smtClean="0">
                <a:solidFill>
                  <a:srgbClr val="333399"/>
                </a:solidFill>
              </a:rPr>
              <a:t>бронхоспазма</a:t>
            </a:r>
            <a:r>
              <a:rPr lang="ru-RU" sz="2000" b="1" i="1" dirty="0" smtClean="0">
                <a:solidFill>
                  <a:srgbClr val="333399"/>
                </a:solidFill>
              </a:rPr>
              <a:t> и его профилактики )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2000" i="1" dirty="0" smtClean="0">
              <a:solidFill>
                <a:srgbClr val="333399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FF3300"/>
                </a:solidFill>
              </a:rPr>
              <a:t>Увеличение потребности в средствах «скорой помощи» указывает на ухудшение состояния пациента и НЕОБХОДИМОСТЬ В ПЕРЕСМОТРЕ ТЕРАПИИ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b="1" dirty="0" smtClean="0">
              <a:solidFill>
                <a:srgbClr val="FF3300"/>
              </a:solidFill>
            </a:endParaRPr>
          </a:p>
        </p:txBody>
      </p:sp>
      <p:sp>
        <p:nvSpPr>
          <p:cNvPr id="57351" name="Text Box 7"/>
          <p:cNvSpPr txBox="1">
            <a:spLocks noChangeArrowheads="1"/>
          </p:cNvSpPr>
          <p:nvPr/>
        </p:nvSpPr>
        <p:spPr bwMode="auto">
          <a:xfrm>
            <a:off x="3778250" y="6362700"/>
            <a:ext cx="53657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FF00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sz="1400" i="1" smtClean="0">
                <a:solidFill>
                  <a:srgbClr val="33CCFF"/>
                </a:solidFill>
                <a:hlinkClick r:id="rId3"/>
              </a:rPr>
              <a:t>www.ginasthma.org</a:t>
            </a:r>
            <a:endParaRPr lang="en-US" sz="1400" i="1" smtClean="0">
              <a:solidFill>
                <a:srgbClr val="33CCFF"/>
              </a:solidFill>
            </a:endParaRPr>
          </a:p>
        </p:txBody>
      </p:sp>
      <p:sp>
        <p:nvSpPr>
          <p:cNvPr id="57352" name="Oval 8"/>
          <p:cNvSpPr>
            <a:spLocks noChangeArrowheads="1"/>
          </p:cNvSpPr>
          <p:nvPr/>
        </p:nvSpPr>
        <p:spPr bwMode="auto">
          <a:xfrm>
            <a:off x="306388" y="2938463"/>
            <a:ext cx="4740275" cy="3378200"/>
          </a:xfrm>
          <a:prstGeom prst="ellipse">
            <a:avLst/>
          </a:prstGeom>
          <a:noFill/>
          <a:ln w="38100">
            <a:solidFill>
              <a:srgbClr val="FFCC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46398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7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352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0"/>
            <a:ext cx="8229600" cy="792163"/>
          </a:xfrm>
        </p:spPr>
        <p:txBody>
          <a:bodyPr/>
          <a:lstStyle/>
          <a:p>
            <a:r>
              <a:rPr lang="ru-RU" sz="24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репараты </a:t>
            </a:r>
            <a:r>
              <a:rPr lang="el-GR" sz="24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β</a:t>
            </a:r>
            <a:r>
              <a:rPr lang="ru-RU" sz="2400" b="1" i="1" baseline="-2500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2</a:t>
            </a:r>
            <a:r>
              <a:rPr lang="ru-RU" sz="24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агонистов, используемые в ингаляционной терапии</a:t>
            </a:r>
            <a:endParaRPr lang="el-GR" sz="2400" b="1" i="1">
              <a:solidFill>
                <a:srgbClr val="333399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pitchFamily="34" charset="0"/>
            </a:endParaRPr>
          </a:p>
        </p:txBody>
      </p:sp>
      <p:graphicFrame>
        <p:nvGraphicFramePr>
          <p:cNvPr id="224259" name="Group 3"/>
          <p:cNvGraphicFramePr>
            <a:graphicFrameLocks noGrp="1"/>
          </p:cNvGraphicFramePr>
          <p:nvPr>
            <p:ph idx="1"/>
          </p:nvPr>
        </p:nvGraphicFramePr>
        <p:xfrm>
          <a:off x="179388" y="765175"/>
          <a:ext cx="8713787" cy="5952046"/>
        </p:xfrm>
        <a:graphic>
          <a:graphicData uri="http://schemas.openxmlformats.org/drawingml/2006/table">
            <a:tbl>
              <a:tblPr/>
              <a:tblGrid>
                <a:gridCol w="2011362"/>
                <a:gridCol w="3244850"/>
                <a:gridCol w="3457575"/>
              </a:tblGrid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ействующее вещество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орговое назван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орма выпуска, доз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09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бутамол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амол Эко Легкое Дыхание</a:t>
                      </a:r>
                      <a:r>
                        <a:rPr kumimoji="0" lang="en-US" sz="16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®</a:t>
                      </a: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endParaRPr kumimoji="0" lang="en-US" sz="1600" b="1" i="0" u="none" strike="noStrike" cap="none" normalizeH="0" baseline="46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амол Эко</a:t>
                      </a:r>
                      <a:r>
                        <a:rPr kumimoji="0" lang="en-US" sz="16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®</a:t>
                      </a: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 </a:t>
                      </a:r>
                      <a:endParaRPr kumimoji="0" lang="en-US" sz="1600" b="1" i="0" u="none" strike="noStrike" cap="none" normalizeH="0" baseline="6000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ентолин небул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бенциклохале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тос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ги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Вентолин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, активируемый вдохом  – 1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– 1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р-р для небулайзера 2,5 мг/2,5 м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2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аблет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аблетк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– 100 мкг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ербуталин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рикани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ПИ – 500 мкг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31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енотерол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ероте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еротек 100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еротек Н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еротек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– 2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– 1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– 100 мк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Р-р для ингаляции 1мг/1м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3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енотерол + ипратропиума бромид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еродуа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АИ (50 мкг фенотерола + 20 мкг ИБ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Р-р д/небул 500 мкг + 250 мкг/1 мл (20 капс.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001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2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333375"/>
            <a:ext cx="7772400" cy="1143000"/>
          </a:xfrm>
        </p:spPr>
        <p:txBody>
          <a:bodyPr/>
          <a:lstStyle/>
          <a:p>
            <a:r>
              <a:rPr lang="ru-RU" sz="36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Агонисты</a:t>
            </a:r>
            <a:r>
              <a:rPr lang="ru-RU" sz="32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</a:t>
            </a:r>
            <a:r>
              <a:rPr lang="el-GR" sz="32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β</a:t>
            </a:r>
            <a:r>
              <a:rPr lang="ru-RU" sz="3200" b="1" i="1" baseline="-2500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2</a:t>
            </a:r>
            <a:r>
              <a:rPr lang="ru-RU" sz="32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-адренергических рецепторов</a:t>
            </a:r>
          </a:p>
        </p:txBody>
      </p:sp>
      <p:graphicFrame>
        <p:nvGraphicFramePr>
          <p:cNvPr id="225283" name="Group 3"/>
          <p:cNvGraphicFramePr>
            <a:graphicFrameLocks noGrp="1"/>
          </p:cNvGraphicFramePr>
          <p:nvPr>
            <p:ph idx="1"/>
          </p:nvPr>
        </p:nvGraphicFramePr>
        <p:xfrm>
          <a:off x="685800" y="1981200"/>
          <a:ext cx="7772400" cy="4628388"/>
        </p:xfrm>
        <a:graphic>
          <a:graphicData uri="http://schemas.openxmlformats.org/drawingml/2006/table">
            <a:tbl>
              <a:tblPr/>
              <a:tblGrid>
                <a:gridCol w="2590800"/>
                <a:gridCol w="2590800"/>
                <a:gridCol w="2590800"/>
              </a:tblGrid>
              <a:tr h="10287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Начало действия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лительность действ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28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Короткое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Длительно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8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Быстрое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бутамо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енотеро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Тербуталин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Формотер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287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Медленное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Сальметеро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2775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323850" y="1700808"/>
            <a:ext cx="8569325" cy="4752380"/>
          </a:xfrm>
        </p:spPr>
        <p:txBody>
          <a:bodyPr/>
          <a:lstStyle/>
          <a:p>
            <a:pPr algn="ctr">
              <a:lnSpc>
                <a:spcPct val="90000"/>
              </a:lnSpc>
              <a:buFontTx/>
              <a:buNone/>
            </a:pPr>
            <a:r>
              <a:rPr lang="ru-RU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ИГКС, действующие в основном локально, обладают выраженной противовоспалительной активностью, подавляя, как острое, так и хроническое воспаление. Они способны ингибировать активность </a:t>
            </a:r>
            <a:r>
              <a:rPr lang="ru-RU" sz="2800" b="1" i="1" dirty="0" err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фосфолипазы</a:t>
            </a:r>
            <a:r>
              <a:rPr lang="ru-RU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А</a:t>
            </a:r>
            <a:r>
              <a:rPr lang="ru-RU" sz="2800" b="1" i="1" baseline="-25000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</a:t>
            </a:r>
            <a:r>
              <a:rPr lang="ru-RU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и синтез медиаторов воспаления липидного происхождения, уменьшать синтез 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ru-RU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Т-лимфоцитами противовоспалительных цитокинов, увеличивать экспрессию </a:t>
            </a:r>
          </a:p>
          <a:p>
            <a:pPr algn="ctr">
              <a:lnSpc>
                <a:spcPct val="90000"/>
              </a:lnSpc>
              <a:buFontTx/>
              <a:buNone/>
            </a:pPr>
            <a:r>
              <a:rPr lang="el-GR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β</a:t>
            </a:r>
            <a:r>
              <a:rPr lang="ru-RU" sz="2800" b="1" i="1" baseline="-25000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2</a:t>
            </a:r>
            <a:r>
              <a:rPr lang="ru-RU" sz="2800" b="1" i="1" dirty="0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-адренорецепторов.</a:t>
            </a:r>
            <a:endParaRPr lang="el-GR" sz="2800" b="1" i="1" baseline="-25000" dirty="0">
              <a:solidFill>
                <a:srgbClr val="333399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50531" name="Rectangle 3"/>
          <p:cNvSpPr>
            <a:spLocks noGrp="1" noChangeArrowheads="1"/>
          </p:cNvSpPr>
          <p:nvPr>
            <p:ph type="title"/>
          </p:nvPr>
        </p:nvSpPr>
        <p:spPr>
          <a:xfrm>
            <a:off x="107504" y="188913"/>
            <a:ext cx="8495159" cy="863600"/>
          </a:xfrm>
          <a:noFill/>
          <a:ln/>
        </p:spPr>
        <p:txBody>
          <a:bodyPr/>
          <a:lstStyle/>
          <a:p>
            <a:r>
              <a:rPr lang="ru-RU" sz="2800" b="1" i="1" u="sng" dirty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Ингаляционные </a:t>
            </a:r>
            <a:r>
              <a:rPr lang="ru-RU" sz="2800" b="1" i="1" u="sng" dirty="0" err="1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глюкокортикостероиды</a:t>
            </a:r>
            <a:r>
              <a:rPr lang="ru-RU" sz="2800" b="1" i="1" u="sng" dirty="0">
                <a:solidFill>
                  <a:srgbClr val="000066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(ИГКС)</a:t>
            </a:r>
          </a:p>
        </p:txBody>
      </p:sp>
    </p:spTree>
    <p:extLst>
      <p:ext uri="{BB962C8B-B14F-4D97-AF65-F5344CB8AC3E}">
        <p14:creationId xmlns:p14="http://schemas.microsoft.com/office/powerpoint/2010/main" val="46277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260350"/>
            <a:ext cx="7772400" cy="508000"/>
          </a:xfrm>
        </p:spPr>
        <p:txBody>
          <a:bodyPr/>
          <a:lstStyle/>
          <a:p>
            <a:r>
              <a:rPr lang="ru-RU" sz="3600" b="1" i="1">
                <a:solidFill>
                  <a:srgbClr val="333399"/>
                </a:solidFill>
                <a:latin typeface="Tahoma" pitchFamily="34" charset="0"/>
              </a:rPr>
              <a:t>ИГКС</a:t>
            </a:r>
            <a:r>
              <a:rPr lang="ru-RU" sz="3600" b="1">
                <a:solidFill>
                  <a:srgbClr val="FFFF00"/>
                </a:solidFill>
                <a:latin typeface="Tahoma" pitchFamily="34" charset="0"/>
              </a:rPr>
              <a:t> </a:t>
            </a:r>
            <a:endParaRPr lang="en-US" sz="3600" b="1">
              <a:solidFill>
                <a:srgbClr val="FFFF00"/>
              </a:solidFill>
              <a:latin typeface="Tahoma" pitchFamily="34" charset="0"/>
            </a:endParaRPr>
          </a:p>
        </p:txBody>
      </p:sp>
      <p:sp>
        <p:nvSpPr>
          <p:cNvPr id="1525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908050"/>
            <a:ext cx="8534400" cy="4876800"/>
          </a:xfrm>
        </p:spPr>
        <p:txBody>
          <a:bodyPr/>
          <a:lstStyle/>
          <a:p>
            <a:r>
              <a:rPr lang="ru-RU" sz="2200" b="1">
                <a:solidFill>
                  <a:srgbClr val="000000"/>
                </a:solidFill>
                <a:latin typeface="Tahoma" pitchFamily="34" charset="0"/>
              </a:rPr>
              <a:t>Беклометазон</a:t>
            </a:r>
            <a:r>
              <a:rPr lang="ru-RU" sz="2200" b="1">
                <a:latin typeface="Tahoma" pitchFamily="34" charset="0"/>
              </a:rPr>
              <a:t>	беклазон эко		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100, 250 мкг</a:t>
            </a:r>
          </a:p>
          <a:p>
            <a:pPr>
              <a:buFontTx/>
              <a:buNone/>
            </a:pPr>
            <a:r>
              <a:rPr lang="ru-RU" sz="2200" b="1">
                <a:latin typeface="Tahoma" pitchFamily="34" charset="0"/>
              </a:rPr>
              <a:t>				беклазон эко лёгкое дыхание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100, 250 мкг</a:t>
            </a:r>
          </a:p>
          <a:p>
            <a:pPr>
              <a:buFontTx/>
              <a:buNone/>
            </a:pPr>
            <a:r>
              <a:rPr lang="ru-RU" sz="2200" b="1">
                <a:latin typeface="Tahoma" pitchFamily="34" charset="0"/>
              </a:rPr>
              <a:t>				бекотид, альдецин	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50 мкг</a:t>
            </a:r>
          </a:p>
          <a:p>
            <a:pPr>
              <a:buFontTx/>
              <a:buNone/>
            </a:pPr>
            <a:r>
              <a:rPr lang="ru-RU" sz="2200" b="1">
                <a:latin typeface="Tahoma" pitchFamily="34" charset="0"/>
              </a:rPr>
              <a:t>				беклоджет		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250 мкг</a:t>
            </a:r>
          </a:p>
          <a:p>
            <a:pPr>
              <a:buFontTx/>
              <a:buNone/>
            </a:pPr>
            <a:endParaRPr lang="ru-RU" sz="2200" b="1">
              <a:latin typeface="Tahoma" pitchFamily="34" charset="0"/>
            </a:endParaRPr>
          </a:p>
          <a:p>
            <a:r>
              <a:rPr lang="ru-RU" sz="2200" b="1">
                <a:solidFill>
                  <a:srgbClr val="000000"/>
                </a:solidFill>
                <a:latin typeface="Tahoma" pitchFamily="34" charset="0"/>
              </a:rPr>
              <a:t>Будесонид	</a:t>
            </a:r>
            <a:r>
              <a:rPr lang="ru-RU" sz="2200" b="1">
                <a:latin typeface="Tahoma" pitchFamily="34" charset="0"/>
              </a:rPr>
              <a:t>пульмикорт турбухалер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200 мкг</a:t>
            </a:r>
          </a:p>
          <a:p>
            <a:pPr>
              <a:buFontTx/>
              <a:buNone/>
            </a:pPr>
            <a:r>
              <a:rPr lang="ru-RU" sz="2200" b="1">
                <a:latin typeface="Tahoma" pitchFamily="34" charset="0"/>
              </a:rPr>
              <a:t>				бенакорт		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200 мкг</a:t>
            </a:r>
          </a:p>
          <a:p>
            <a:pPr>
              <a:buFontTx/>
              <a:buNone/>
            </a:pPr>
            <a:endParaRPr lang="ru-RU" sz="2200" b="1">
              <a:latin typeface="Tahoma" pitchFamily="34" charset="0"/>
            </a:endParaRPr>
          </a:p>
          <a:p>
            <a:r>
              <a:rPr lang="ru-RU" sz="2200" b="1">
                <a:solidFill>
                  <a:srgbClr val="000000"/>
                </a:solidFill>
                <a:latin typeface="Tahoma" pitchFamily="34" charset="0"/>
              </a:rPr>
              <a:t>Флютиказон</a:t>
            </a:r>
            <a:r>
              <a:rPr lang="ru-RU" sz="2200" b="1">
                <a:latin typeface="Tahoma" pitchFamily="34" charset="0"/>
              </a:rPr>
              <a:t>	фликсотид		</a:t>
            </a:r>
            <a:r>
              <a:rPr lang="ru-RU" sz="2200" b="1">
                <a:solidFill>
                  <a:srgbClr val="FF3300"/>
                </a:solidFill>
                <a:latin typeface="Tahoma" pitchFamily="34" charset="0"/>
              </a:rPr>
              <a:t>50, 125, 250 мкг</a:t>
            </a:r>
          </a:p>
          <a:p>
            <a:endParaRPr lang="ru-RU" sz="2200" b="1">
              <a:latin typeface="Tahoma" pitchFamily="34" charset="0"/>
            </a:endParaRPr>
          </a:p>
          <a:p>
            <a:r>
              <a:rPr lang="ru-RU" sz="2200" b="1">
                <a:solidFill>
                  <a:srgbClr val="000000"/>
                </a:solidFill>
                <a:latin typeface="Tahoma" pitchFamily="34" charset="0"/>
              </a:rPr>
              <a:t>Будесонид + формотерол</a:t>
            </a:r>
            <a:r>
              <a:rPr lang="ru-RU" sz="2200" b="1">
                <a:latin typeface="Tahoma" pitchFamily="34" charset="0"/>
              </a:rPr>
              <a:t>		          симбикорт</a:t>
            </a:r>
          </a:p>
          <a:p>
            <a:r>
              <a:rPr lang="ru-RU" sz="2200" b="1">
                <a:solidFill>
                  <a:srgbClr val="000000"/>
                </a:solidFill>
                <a:latin typeface="Tahoma" pitchFamily="34" charset="0"/>
              </a:rPr>
              <a:t>Флютиказон + сальметерол</a:t>
            </a:r>
            <a:r>
              <a:rPr lang="ru-RU" sz="2200" b="1">
                <a:latin typeface="Tahoma" pitchFamily="34" charset="0"/>
              </a:rPr>
              <a:t>		серетид</a:t>
            </a:r>
            <a:endParaRPr lang="en-US" sz="2200" b="1">
              <a:latin typeface="Tahoma" pitchFamily="34" charset="0"/>
            </a:endParaRPr>
          </a:p>
        </p:txBody>
      </p:sp>
      <p:sp>
        <p:nvSpPr>
          <p:cNvPr id="152580" name="Line 4"/>
          <p:cNvSpPr>
            <a:spLocks noChangeShapeType="1"/>
          </p:cNvSpPr>
          <p:nvPr/>
        </p:nvSpPr>
        <p:spPr bwMode="auto">
          <a:xfrm>
            <a:off x="609600" y="29718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52581" name="Line 5"/>
          <p:cNvSpPr>
            <a:spLocks noChangeShapeType="1"/>
          </p:cNvSpPr>
          <p:nvPr/>
        </p:nvSpPr>
        <p:spPr bwMode="auto">
          <a:xfrm>
            <a:off x="609600" y="41148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152582" name="Line 6"/>
          <p:cNvSpPr>
            <a:spLocks noChangeShapeType="1"/>
          </p:cNvSpPr>
          <p:nvPr/>
        </p:nvSpPr>
        <p:spPr bwMode="auto">
          <a:xfrm>
            <a:off x="609600" y="4876800"/>
            <a:ext cx="8305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992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16015" y="247699"/>
            <a:ext cx="7507287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3200" b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ГКС в лечении БА у детей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82675" y="6308802"/>
            <a:ext cx="7507288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70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ГКС – ингаляционные глюкокортикостероиды</a:t>
            </a:r>
          </a:p>
          <a:p>
            <a:pPr>
              <a:defRPr/>
            </a:pPr>
            <a:r>
              <a:rPr lang="ru-RU" sz="70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700" i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700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  <p:grpSp>
        <p:nvGrpSpPr>
          <p:cNvPr id="90116" name="Group 4"/>
          <p:cNvGrpSpPr>
            <a:grpSpLocks/>
          </p:cNvGrpSpPr>
          <p:nvPr/>
        </p:nvGrpSpPr>
        <p:grpSpPr bwMode="auto">
          <a:xfrm>
            <a:off x="1187624" y="1412776"/>
            <a:ext cx="7459663" cy="3977283"/>
            <a:chOff x="1187652" y="1412556"/>
            <a:chExt cx="7459892" cy="3976609"/>
          </a:xfrm>
        </p:grpSpPr>
        <p:sp>
          <p:nvSpPr>
            <p:cNvPr id="90117" name="Rectangle 8"/>
            <p:cNvSpPr>
              <a:spLocks noChangeArrowheads="1"/>
            </p:cNvSpPr>
            <p:nvPr/>
          </p:nvSpPr>
          <p:spPr bwMode="auto">
            <a:xfrm>
              <a:off x="1187652" y="1412556"/>
              <a:ext cx="7459892" cy="2246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28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Будесонид – с 6 </a:t>
              </a:r>
              <a:r>
                <a:rPr lang="ru-RU" altLang="ru-RU" sz="2800" b="1" dirty="0" smtClean="0">
                  <a:solidFill>
                    <a:srgbClr val="000000"/>
                  </a:solidFill>
                  <a:latin typeface="Arial Narrow" panose="020B0606020202030204" pitchFamily="34" charset="0"/>
                </a:rPr>
                <a:t>мес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ru-RU" altLang="ru-RU" sz="2800" b="1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28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Флутиказона пропионат – с 1 </a:t>
              </a:r>
              <a:r>
                <a:rPr lang="ru-RU" altLang="ru-RU" sz="2800" b="1" dirty="0" smtClean="0">
                  <a:solidFill>
                    <a:srgbClr val="000000"/>
                  </a:solidFill>
                  <a:latin typeface="Arial Narrow" panose="020B0606020202030204" pitchFamily="34" charset="0"/>
                </a:rPr>
                <a:t>года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ru-RU" altLang="ru-RU" sz="2800" b="1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2800" b="1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Беклометазона</a:t>
              </a:r>
              <a:r>
                <a:rPr lang="ru-RU" altLang="ru-RU" sz="28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altLang="ru-RU" sz="2800" b="1" dirty="0" err="1">
                  <a:solidFill>
                    <a:srgbClr val="000000"/>
                  </a:solidFill>
                  <a:latin typeface="Arial Narrow" panose="020B0606020202030204" pitchFamily="34" charset="0"/>
                </a:rPr>
                <a:t>дипропионат</a:t>
              </a:r>
              <a:r>
                <a:rPr lang="ru-RU" altLang="ru-RU" sz="2800" b="1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 – с 4 лет</a:t>
              </a: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259662" y="4004405"/>
              <a:ext cx="4695969" cy="13847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2800" b="1" kern="0" dirty="0">
                  <a:solidFill>
                    <a:sysClr val="windowText" lastClr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Циклесонид – с 6 </a:t>
              </a:r>
              <a:r>
                <a:rPr lang="ru-RU" sz="2800" b="1" kern="0" dirty="0" smtClean="0">
                  <a:solidFill>
                    <a:sysClr val="windowText" lastClr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лет</a:t>
              </a:r>
            </a:p>
            <a:p>
              <a:pPr>
                <a:defRPr/>
              </a:pPr>
              <a:endParaRPr lang="ru-RU" sz="2800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lang="ru-RU" sz="2800" b="1" kern="0" dirty="0" err="1">
                  <a:solidFill>
                    <a:sysClr val="windowText" lastClr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Мометазон</a:t>
              </a:r>
              <a:r>
                <a:rPr lang="ru-RU" sz="2800" b="1" kern="0" dirty="0">
                  <a:solidFill>
                    <a:sysClr val="windowText" lastClr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 – с 12 ле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9747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1">
            <a:extLst>
              <a:ext uri="{FF2B5EF4-FFF2-40B4-BE49-F238E27FC236}">
                <a16:creationId xmlns="" xmlns:a16="http://schemas.microsoft.com/office/drawing/2014/main" id="{4223CF66-1617-4E7C-9EDC-33913F2557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6092825"/>
            <a:ext cx="86947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 i="1">
                <a:solidFill>
                  <a:prstClr val="black"/>
                </a:solidFill>
                <a:latin typeface="Arial Narrow" panose="020B0606020202030204" pitchFamily="34" charset="0"/>
              </a:rPr>
              <a:t>Национальная программа «Бронхиальная астма у детей. Стратегия лечения и профилактика». - 5-е изд., перераб. и доп. – Москва: Оригинал-макет, 2017. – 160 с.</a:t>
            </a:r>
          </a:p>
        </p:txBody>
      </p:sp>
      <p:sp>
        <p:nvSpPr>
          <p:cNvPr id="68611" name="Rectangle 5">
            <a:extLst>
              <a:ext uri="{FF2B5EF4-FFF2-40B4-BE49-F238E27FC236}">
                <a16:creationId xmlns="" xmlns:a16="http://schemas.microsoft.com/office/drawing/2014/main" id="{6EF5F33D-F4DC-4352-9F19-18B746917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75" y="4223745"/>
            <a:ext cx="9115425" cy="2123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ru-RU" b="1" dirty="0">
                <a:solidFill>
                  <a:srgbClr val="000000"/>
                </a:solidFill>
              </a:rPr>
              <a:t>В РФ существует проблема </a:t>
            </a:r>
            <a:r>
              <a:rPr lang="ru-RU" altLang="ru-RU" b="1" dirty="0" err="1">
                <a:solidFill>
                  <a:srgbClr val="000000"/>
                </a:solidFill>
              </a:rPr>
              <a:t>гиподиагностики</a:t>
            </a:r>
            <a:r>
              <a:rPr lang="ru-RU" altLang="ru-RU" b="1" dirty="0">
                <a:solidFill>
                  <a:srgbClr val="000000"/>
                </a:solidFill>
              </a:rPr>
              <a:t> БА, особенно среди детей в первые годы жизни, в результате у трети пациентов диагноз БА запаздывает на 3-4 года, в результате к врачу попадают пациенты с более тяжелой степенью бронхиальной астмы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endParaRPr lang="en-US" altLang="ru-RU" b="1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ru-RU" b="1" dirty="0">
                <a:solidFill>
                  <a:srgbClr val="000000"/>
                </a:solidFill>
              </a:rPr>
              <a:t>Также есть опасность </a:t>
            </a:r>
            <a:r>
              <a:rPr lang="ru-RU" altLang="ru-RU" b="1" dirty="0" err="1">
                <a:solidFill>
                  <a:srgbClr val="000000"/>
                </a:solidFill>
              </a:rPr>
              <a:t>гипердиагностики</a:t>
            </a:r>
            <a:r>
              <a:rPr lang="ru-RU" altLang="ru-RU" b="1" dirty="0">
                <a:solidFill>
                  <a:srgbClr val="000000"/>
                </a:solidFill>
              </a:rPr>
              <a:t> БА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endParaRPr lang="ru-RU" altLang="ru-RU" b="1" baseline="300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endParaRPr lang="ru-RU" altLang="ru-RU" b="1" baseline="30000" dirty="0">
              <a:solidFill>
                <a:srgbClr val="000000"/>
              </a:solidFill>
            </a:endParaRPr>
          </a:p>
        </p:txBody>
      </p:sp>
      <p:pic>
        <p:nvPicPr>
          <p:cNvPr id="68612" name="Picture 8">
            <a:extLst>
              <a:ext uri="{FF2B5EF4-FFF2-40B4-BE49-F238E27FC236}">
                <a16:creationId xmlns="" xmlns:a16="http://schemas.microsoft.com/office/drawing/2014/main" id="{842F4F44-7DE5-4651-B299-98F8BE97C6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5088" y="764704"/>
            <a:ext cx="3933825" cy="338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613" name="Rectangle 3">
            <a:extLst>
              <a:ext uri="{FF2B5EF4-FFF2-40B4-BE49-F238E27FC236}">
                <a16:creationId xmlns="" xmlns:a16="http://schemas.microsoft.com/office/drawing/2014/main" id="{B28CDE8F-E877-4ABF-BFD3-B4ABF9104F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9338" y="2317750"/>
            <a:ext cx="29876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ГИПЕР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ДИАГНОСТИКАБА</a:t>
            </a:r>
          </a:p>
        </p:txBody>
      </p:sp>
      <p:sp>
        <p:nvSpPr>
          <p:cNvPr id="68614" name="Rectangle 2">
            <a:extLst>
              <a:ext uri="{FF2B5EF4-FFF2-40B4-BE49-F238E27FC236}">
                <a16:creationId xmlns="" xmlns:a16="http://schemas.microsoft.com/office/drawing/2014/main" id="{A61A1FB4-6223-4E22-B440-5E7F6137C1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07950" y="2317750"/>
            <a:ext cx="34559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ГИПО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ДИАГНОСТИКА</a:t>
            </a:r>
            <a:r>
              <a:rPr lang="en-US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 </a:t>
            </a:r>
            <a:r>
              <a:rPr lang="ru-RU" altLang="ru-RU" sz="2000" b="1" i="1">
                <a:solidFill>
                  <a:srgbClr val="C00000"/>
                </a:solidFill>
                <a:latin typeface="Times New Roman Cyr" panose="02020603050405020304" pitchFamily="18" charset="0"/>
              </a:rPr>
              <a:t>БА</a:t>
            </a:r>
          </a:p>
        </p:txBody>
      </p:sp>
      <p:sp>
        <p:nvSpPr>
          <p:cNvPr id="68615" name="TextBox 10">
            <a:extLst>
              <a:ext uri="{FF2B5EF4-FFF2-40B4-BE49-F238E27FC236}">
                <a16:creationId xmlns="" xmlns:a16="http://schemas.microsoft.com/office/drawing/2014/main" id="{49C83C9D-6997-496E-A80B-B3323C39BB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8" y="260350"/>
            <a:ext cx="91027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6858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srgbClr val="339966"/>
                </a:solidFill>
              </a:rPr>
              <a:t>Бронхиальная астма сегодня</a:t>
            </a:r>
          </a:p>
        </p:txBody>
      </p:sp>
    </p:spTree>
    <p:extLst>
      <p:ext uri="{BB962C8B-B14F-4D97-AF65-F5344CB8AC3E}">
        <p14:creationId xmlns:p14="http://schemas.microsoft.com/office/powerpoint/2010/main" val="3778518202"/>
      </p:ext>
    </p:extLst>
  </p:cSld>
  <p:clrMapOvr>
    <a:masterClrMapping/>
  </p:clrMapOvr>
  <p:transition spd="slow">
    <p:fade/>
  </p:transition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847" y="116632"/>
            <a:ext cx="9000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есто </a:t>
            </a:r>
            <a:r>
              <a:rPr lang="ru-RU" sz="3200" b="1" kern="0" dirty="0" err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сонида</a:t>
            </a:r>
            <a:r>
              <a:rPr lang="ru-RU" sz="3200" b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в лечении обострений БА у детей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51" y="764704"/>
            <a:ext cx="9081749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b="1" i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галяционный кортикостероид </a:t>
            </a:r>
            <a:r>
              <a:rPr lang="ru-RU" sz="2800" b="1" i="1" kern="0" dirty="0" err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сонид</a:t>
            </a:r>
            <a:r>
              <a:rPr lang="ru-RU" sz="2800" b="1" i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800" b="1" i="1" kern="0" dirty="0" err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икронизированная</a:t>
            </a:r>
            <a:r>
              <a:rPr lang="ru-RU" sz="2800" b="1" i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суспензия</a:t>
            </a:r>
            <a:r>
              <a:rPr lang="ru-RU" sz="2800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является стартовым средством, включающимся в комплекс терапии  уже при среднетяжелом обострении, т.к. он обладает выраженным противовоспалительным и </a:t>
            </a:r>
            <a:r>
              <a:rPr lang="ru-RU" sz="2800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тивоотечным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действием [B]. 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чальная доза суспензии </a:t>
            </a:r>
            <a:r>
              <a:rPr lang="ru-RU" sz="2800" b="1" i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сонида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составляет 0,5-1 мг 2 раза в день для детей от 6 месяцев  до 12 лет и 1-2 мг 2 раза в сутки детей старше 12 лет. </a:t>
            </a: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800" b="1" i="1" kern="0" dirty="0" err="1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сонид</a:t>
            </a:r>
            <a:r>
              <a:rPr lang="ru-RU" sz="2800" b="1" i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спензию можно разбавлять физиологическим раствором, а также смешивать с растворами </a:t>
            </a:r>
            <a:r>
              <a:rPr lang="ru-RU" sz="2800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ронхолитиков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(</a:t>
            </a:r>
            <a:r>
              <a:rPr lang="ru-RU" sz="2800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льбутамол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, фенотерол, ипратропия бромид, комбинация </a:t>
            </a:r>
            <a:r>
              <a:rPr lang="ru-RU" sz="2800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енотерол+ипратропия</a:t>
            </a:r>
            <a:r>
              <a:rPr lang="ru-RU" sz="28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бромид).</a:t>
            </a:r>
          </a:p>
        </p:txBody>
      </p:sp>
      <p:sp>
        <p:nvSpPr>
          <p:cNvPr id="9" name="Rectangle 8"/>
          <p:cNvSpPr/>
          <p:nvPr/>
        </p:nvSpPr>
        <p:spPr>
          <a:xfrm>
            <a:off x="323528" y="6237312"/>
            <a:ext cx="5580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 – бронхиальная астма</a:t>
            </a:r>
          </a:p>
          <a:p>
            <a:pPr>
              <a:defRPr/>
            </a:pP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1000" b="1" i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</p:spTree>
    <p:extLst>
      <p:ext uri="{BB962C8B-B14F-4D97-AF65-F5344CB8AC3E}">
        <p14:creationId xmlns:p14="http://schemas.microsoft.com/office/powerpoint/2010/main" val="222207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звание 3"/>
          <p:cNvSpPr>
            <a:spLocks noGrp="1"/>
          </p:cNvSpPr>
          <p:nvPr>
            <p:ph type="title"/>
          </p:nvPr>
        </p:nvSpPr>
        <p:spPr>
          <a:xfrm>
            <a:off x="434233" y="0"/>
            <a:ext cx="8229600" cy="836712"/>
          </a:xfrm>
        </p:spPr>
        <p:txBody>
          <a:bodyPr>
            <a:normAutofit fontScale="90000"/>
          </a:bodyPr>
          <a:lstStyle/>
          <a:p>
            <a:r>
              <a:rPr lang="ru-RU" b="1" dirty="0" smtClean="0"/>
              <a:t>Системные </a:t>
            </a:r>
            <a:r>
              <a:rPr lang="ru-RU" b="1" dirty="0" err="1" smtClean="0"/>
              <a:t>глюкокортикостероиды</a:t>
            </a:r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457200" y="764704"/>
            <a:ext cx="8229600" cy="5361461"/>
          </a:xfrm>
        </p:spPr>
        <p:txBody>
          <a:bodyPr>
            <a:normAutofit fontScale="85000" lnSpcReduction="20000"/>
          </a:bodyPr>
          <a:lstStyle/>
          <a:p>
            <a:r>
              <a:rPr lang="ru-RU" dirty="0">
                <a:latin typeface="Arial" pitchFamily="34" charset="0"/>
                <a:cs typeface="Arial" pitchFamily="34" charset="0"/>
              </a:rPr>
              <a:t>П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оказаны </a:t>
            </a:r>
            <a:r>
              <a:rPr lang="ru-RU" dirty="0">
                <a:latin typeface="Arial" pitchFamily="34" charset="0"/>
                <a:cs typeface="Arial" pitchFamily="34" charset="0"/>
              </a:rPr>
              <a:t>при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тяжелых </a:t>
            </a:r>
            <a:r>
              <a:rPr lang="ru-RU" dirty="0">
                <a:latin typeface="Arial" pitchFamily="34" charset="0"/>
                <a:cs typeface="Arial" pitchFamily="34" charset="0"/>
              </a:rPr>
              <a:t>или длительных обострениях,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dirty="0">
                <a:latin typeface="Arial" pitchFamily="34" charset="0"/>
                <a:cs typeface="Arial" pitchFamily="34" charset="0"/>
              </a:rPr>
              <a:t>К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ороткие курсы </a:t>
            </a:r>
            <a:r>
              <a:rPr lang="ru-RU" dirty="0">
                <a:latin typeface="Arial" pitchFamily="34" charset="0"/>
                <a:cs typeface="Arial" pitchFamily="34" charset="0"/>
              </a:rPr>
              <a:t>(3-5 дней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) 1мг/кг массы в сутки </a:t>
            </a:r>
            <a:r>
              <a:rPr lang="ru-RU" dirty="0">
                <a:latin typeface="Arial" pitchFamily="34" charset="0"/>
                <a:cs typeface="Arial" pitchFamily="34" charset="0"/>
              </a:rPr>
              <a:t>перорально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или </a:t>
            </a:r>
            <a:r>
              <a:rPr lang="ru-RU" dirty="0">
                <a:latin typeface="Arial" pitchFamily="34" charset="0"/>
                <a:cs typeface="Arial" pitchFamily="34" charset="0"/>
              </a:rPr>
              <a:t>парентерально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После достижения </a:t>
            </a:r>
            <a:r>
              <a:rPr lang="ru-RU" dirty="0">
                <a:latin typeface="Arial" pitchFamily="34" charset="0"/>
                <a:cs typeface="Arial" pitchFamily="34" charset="0"/>
              </a:rPr>
              <a:t>эффекта препарат отменяют без постепенного снижения дозы.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При </a:t>
            </a:r>
            <a:r>
              <a:rPr lang="ru-RU" dirty="0">
                <a:latin typeface="Arial" pitchFamily="34" charset="0"/>
                <a:cs typeface="Arial" pitchFamily="34" charset="0"/>
              </a:rPr>
              <a:t>необходимости длительного лечения предпочтение отдается пероральным ГКС ежедневно или через день с учетом суточного ритма.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Применяют преднизолон </a:t>
            </a:r>
            <a:r>
              <a:rPr lang="ru-RU" dirty="0">
                <a:latin typeface="Arial" pitchFamily="34" charset="0"/>
                <a:cs typeface="Arial" pitchFamily="34" charset="0"/>
              </a:rPr>
              <a:t>или </a:t>
            </a:r>
            <a:r>
              <a:rPr lang="ru-RU" dirty="0" err="1">
                <a:latin typeface="Arial" pitchFamily="34" charset="0"/>
                <a:cs typeface="Arial" pitchFamily="34" charset="0"/>
              </a:rPr>
              <a:t>метилпреднизолон</a:t>
            </a:r>
            <a:r>
              <a:rPr lang="ru-RU" dirty="0">
                <a:latin typeface="Arial" pitchFamily="34" charset="0"/>
                <a:cs typeface="Arial" pitchFamily="34" charset="0"/>
              </a:rPr>
              <a:t>, обладающие минимальным минералокортикоидным эффектом,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относительно </a:t>
            </a:r>
            <a:r>
              <a:rPr lang="ru-RU" dirty="0">
                <a:latin typeface="Arial" pitchFamily="34" charset="0"/>
                <a:cs typeface="Arial" pitchFamily="34" charset="0"/>
              </a:rPr>
              <a:t>коротким периодом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полувыведения. 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6" name="Rectangle 4"/>
          <p:cNvSpPr/>
          <p:nvPr/>
        </p:nvSpPr>
        <p:spPr>
          <a:xfrm>
            <a:off x="457200" y="6162675"/>
            <a:ext cx="851380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100" b="1" kern="0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ГКС- глюкокотикостероиды;</a:t>
            </a:r>
          </a:p>
          <a:p>
            <a:pPr>
              <a:defRPr/>
            </a:pPr>
            <a:r>
              <a:rPr lang="ru-RU" sz="1100" b="1" kern="0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Национальная </a:t>
            </a:r>
            <a:r>
              <a:rPr lang="ru-RU" sz="1100" b="1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программа «Бронхиальная астма у детей. Стратегия лечения и профилактика». - 5-е изд., </a:t>
            </a:r>
            <a:r>
              <a:rPr lang="ru-RU" sz="1100" b="1" kern="0" dirty="0" err="1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перераб</a:t>
            </a:r>
            <a:r>
              <a:rPr lang="ru-RU" sz="1100" b="1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. и доп. – Москва : Оригинал-макет, 2017. – 160 с.</a:t>
            </a:r>
          </a:p>
        </p:txBody>
      </p:sp>
    </p:spTree>
    <p:extLst>
      <p:ext uri="{BB962C8B-B14F-4D97-AF65-F5344CB8AC3E}">
        <p14:creationId xmlns:p14="http://schemas.microsoft.com/office/powerpoint/2010/main" val="99817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казания к применению системных стероидов при острой обструкции :</a:t>
            </a:r>
            <a:b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b="1" dirty="0" smtClean="0"/>
              <a:t>Недостаточный </a:t>
            </a:r>
            <a:r>
              <a:rPr lang="ru-RU" b="1" dirty="0"/>
              <a:t>эффект бронхолитиков (β2-агонистов  или антихолинергических средств);</a:t>
            </a:r>
          </a:p>
          <a:p>
            <a:r>
              <a:rPr lang="ru-RU" b="1" dirty="0" smtClean="0"/>
              <a:t>Тяжелые </a:t>
            </a:r>
            <a:r>
              <a:rPr lang="ru-RU" b="1" dirty="0"/>
              <a:t>и жизнеугорожающие обострения;</a:t>
            </a:r>
          </a:p>
          <a:p>
            <a:r>
              <a:rPr lang="ru-RU" b="1" dirty="0"/>
              <a:t>П</a:t>
            </a:r>
            <a:r>
              <a:rPr lang="ru-RU" b="1" dirty="0" smtClean="0"/>
              <a:t>рименение </a:t>
            </a:r>
            <a:r>
              <a:rPr lang="ru-RU" b="1" dirty="0"/>
              <a:t>стероидов в анамнезе  для купирования обострений.</a:t>
            </a:r>
          </a:p>
          <a:p>
            <a:endParaRPr lang="ru-RU" dirty="0"/>
          </a:p>
        </p:txBody>
      </p:sp>
      <p:sp>
        <p:nvSpPr>
          <p:cNvPr id="4" name="Rectangle 4"/>
          <p:cNvSpPr/>
          <p:nvPr/>
        </p:nvSpPr>
        <p:spPr>
          <a:xfrm>
            <a:off x="238484" y="6424929"/>
            <a:ext cx="87980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1000" kern="0" dirty="0" err="1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перераб</a:t>
            </a:r>
            <a:r>
              <a:rPr lang="ru-RU" sz="1000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. и доп. – Москва : Оригинал-макет, 2017. – 160 с.</a:t>
            </a:r>
          </a:p>
        </p:txBody>
      </p:sp>
    </p:spTree>
    <p:extLst>
      <p:ext uri="{BB962C8B-B14F-4D97-AF65-F5344CB8AC3E}">
        <p14:creationId xmlns:p14="http://schemas.microsoft.com/office/powerpoint/2010/main" val="57209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22693" y="764704"/>
            <a:ext cx="8081759" cy="5112568"/>
          </a:xfrm>
        </p:spPr>
        <p:txBody>
          <a:bodyPr>
            <a:normAutofit lnSpcReduction="10000"/>
          </a:bodyPr>
          <a:lstStyle/>
          <a:p>
            <a:r>
              <a:rPr lang="ru-RU" dirty="0">
                <a:latin typeface="Arial" pitchFamily="34" charset="0"/>
                <a:cs typeface="Arial" pitchFamily="34" charset="0"/>
              </a:rPr>
              <a:t>Преднизолон внутрь назначают 1-2 раза в сутки из расчета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ru-RU" dirty="0" smtClean="0">
                <a:latin typeface="Arial" pitchFamily="34" charset="0"/>
                <a:cs typeface="Arial" pitchFamily="34" charset="0"/>
              </a:rPr>
              <a:t>1</a:t>
            </a:r>
            <a:r>
              <a:rPr lang="ru-RU" dirty="0">
                <a:latin typeface="Arial" pitchFamily="34" charset="0"/>
                <a:cs typeface="Arial" pitchFamily="34" charset="0"/>
              </a:rPr>
              <a:t>-2 мг/кг/</a:t>
            </a:r>
            <a:r>
              <a:rPr lang="ru-RU" dirty="0" err="1">
                <a:latin typeface="Arial" pitchFamily="34" charset="0"/>
                <a:cs typeface="Arial" pitchFamily="34" charset="0"/>
              </a:rPr>
              <a:t>сут</a:t>
            </a:r>
            <a:r>
              <a:rPr lang="ru-RU" dirty="0">
                <a:latin typeface="Arial" pitchFamily="34" charset="0"/>
                <a:cs typeface="Arial" pitchFamily="34" charset="0"/>
              </a:rPr>
              <a:t> (детям до 1 года);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ru-RU" dirty="0" smtClean="0">
                <a:latin typeface="Arial" pitchFamily="34" charset="0"/>
                <a:cs typeface="Arial" pitchFamily="34" charset="0"/>
              </a:rPr>
              <a:t>20 </a:t>
            </a:r>
            <a:r>
              <a:rPr lang="ru-RU" dirty="0">
                <a:latin typeface="Arial" pitchFamily="34" charset="0"/>
                <a:cs typeface="Arial" pitchFamily="34" charset="0"/>
              </a:rPr>
              <a:t>мг/сут (детям 1-5 лет);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lvl="1"/>
            <a:r>
              <a:rPr lang="ru-RU" dirty="0" smtClean="0">
                <a:latin typeface="Arial" pitchFamily="34" charset="0"/>
                <a:cs typeface="Arial" pitchFamily="34" charset="0"/>
              </a:rPr>
              <a:t>20</a:t>
            </a:r>
            <a:r>
              <a:rPr lang="ru-RU" dirty="0">
                <a:latin typeface="Arial" pitchFamily="34" charset="0"/>
                <a:cs typeface="Arial" pitchFamily="34" charset="0"/>
              </a:rPr>
              <a:t>-40 мг/сут (детям старше 5 лет). 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При </a:t>
            </a:r>
            <a:r>
              <a:rPr lang="ru-RU" dirty="0">
                <a:latin typeface="Arial" pitchFamily="34" charset="0"/>
                <a:cs typeface="Arial" pitchFamily="34" charset="0"/>
              </a:rPr>
              <a:t>лечении детей с тяжелым обострением БА может использоваться внутривенно </a:t>
            </a:r>
            <a:r>
              <a:rPr lang="ru-RU" dirty="0" err="1">
                <a:latin typeface="Arial" pitchFamily="34" charset="0"/>
                <a:cs typeface="Arial" pitchFamily="34" charset="0"/>
              </a:rPr>
              <a:t>метилпреднизолон</a:t>
            </a:r>
            <a:r>
              <a:rPr lang="ru-RU" dirty="0">
                <a:latin typeface="Arial" pitchFamily="34" charset="0"/>
                <a:cs typeface="Arial" pitchFamily="34" charset="0"/>
              </a:rPr>
              <a:t> от 50 до 125 мг каждые 6-8 ч, гидрокортизон (125-200 мг (4 мг/кг) каждые 6 ч).</a:t>
            </a:r>
          </a:p>
          <a:p>
            <a:endParaRPr lang="ru-RU" dirty="0"/>
          </a:p>
        </p:txBody>
      </p:sp>
      <p:sp>
        <p:nvSpPr>
          <p:cNvPr id="4" name="Rectangle 4"/>
          <p:cNvSpPr/>
          <p:nvPr/>
        </p:nvSpPr>
        <p:spPr>
          <a:xfrm>
            <a:off x="238484" y="6424929"/>
            <a:ext cx="87980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1000" kern="0" dirty="0" err="1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перераб</a:t>
            </a:r>
            <a:r>
              <a:rPr lang="ru-RU" sz="1000" kern="0" dirty="0">
                <a:solidFill>
                  <a:prstClr val="black">
                    <a:lumMod val="85000"/>
                    <a:lumOff val="15000"/>
                  </a:prstClr>
                </a:solidFill>
                <a:cs typeface="Arial" panose="020B0604020202020204" pitchFamily="34" charset="0"/>
              </a:rPr>
              <a:t>. и доп. – Москва : Оригинал-макет, 2017. – 160 с.</a:t>
            </a:r>
          </a:p>
        </p:txBody>
      </p:sp>
    </p:spTree>
    <p:extLst>
      <p:ext uri="{BB962C8B-B14F-4D97-AF65-F5344CB8AC3E}">
        <p14:creationId xmlns:p14="http://schemas.microsoft.com/office/powerpoint/2010/main" val="3507496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"/>
          <p:cNvSpPr txBox="1">
            <a:spLocks/>
          </p:cNvSpPr>
          <p:nvPr/>
        </p:nvSpPr>
        <p:spPr bwMode="auto">
          <a:xfrm>
            <a:off x="11" y="577877"/>
            <a:ext cx="38512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2000" b="1" u="sng">
              <a:solidFill>
                <a:srgbClr val="FFFFFF"/>
              </a:solidFill>
            </a:endParaRPr>
          </a:p>
        </p:txBody>
      </p:sp>
      <p:sp>
        <p:nvSpPr>
          <p:cNvPr id="94211" name="TextBox 2"/>
          <p:cNvSpPr txBox="1">
            <a:spLocks noChangeArrowheads="1"/>
          </p:cNvSpPr>
          <p:nvPr/>
        </p:nvSpPr>
        <p:spPr bwMode="auto">
          <a:xfrm>
            <a:off x="1116015" y="81016"/>
            <a:ext cx="856932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800" b="1" dirty="0">
                <a:solidFill>
                  <a:srgbClr val="C00000"/>
                </a:solidFill>
                <a:latin typeface="Arial Narrow" panose="020B0606020202030204" pitchFamily="34" charset="0"/>
              </a:rPr>
              <a:t>Начало действия высоких доз ИГКС уже через несколько минут</a:t>
            </a:r>
          </a:p>
        </p:txBody>
      </p:sp>
      <p:sp>
        <p:nvSpPr>
          <p:cNvPr id="8" name="Rectangle 7"/>
          <p:cNvSpPr/>
          <p:nvPr/>
        </p:nvSpPr>
        <p:spPr>
          <a:xfrm>
            <a:off x="1042988" y="6365900"/>
            <a:ext cx="4572000" cy="415498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ГКС – ингаляционные глюкокортикостероид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NZ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sbacker S et al</a:t>
            </a:r>
            <a:r>
              <a:rPr lang="en-US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NZ" sz="1050" i="1" dirty="0" err="1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lm</a:t>
            </a:r>
            <a:r>
              <a:rPr lang="en-NZ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NZ" sz="1050" i="1" dirty="0" err="1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armacol</a:t>
            </a:r>
            <a:r>
              <a:rPr lang="en-NZ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NZ" sz="1050" i="1" dirty="0" err="1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r</a:t>
            </a:r>
            <a:r>
              <a:rPr lang="ru-RU" sz="1050" i="1" dirty="0">
                <a:solidFill>
                  <a:srgbClr val="000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08; 21: 247–258</a:t>
            </a:r>
            <a:endParaRPr lang="ru-RU" sz="1050" i="1" dirty="0">
              <a:solidFill>
                <a:prstClr val="black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94213" name="Прямоугольник 8"/>
          <p:cNvSpPr>
            <a:spLocks noChangeArrowheads="1"/>
          </p:cNvSpPr>
          <p:nvPr/>
        </p:nvSpPr>
        <p:spPr bwMode="auto">
          <a:xfrm>
            <a:off x="1116021" y="1227164"/>
            <a:ext cx="7883525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9B2560"/>
                </a:solidFill>
                <a:latin typeface="Arial Narrow" panose="020B0606020202030204" pitchFamily="34" charset="0"/>
              </a:rPr>
              <a:t>По растворимости в воде </a:t>
            </a:r>
            <a:r>
              <a:rPr lang="ru-RU" altLang="ru-RU" sz="2000" b="1" dirty="0" err="1">
                <a:solidFill>
                  <a:srgbClr val="9B2560"/>
                </a:solidFill>
                <a:latin typeface="Arial Narrow" panose="020B0606020202030204" pitchFamily="34" charset="0"/>
              </a:rPr>
              <a:t>будесонид</a:t>
            </a:r>
            <a:r>
              <a:rPr lang="ru-RU" altLang="ru-RU" sz="2000" b="1" dirty="0">
                <a:solidFill>
                  <a:srgbClr val="9B2560"/>
                </a:solidFill>
                <a:latin typeface="Arial Narrow" panose="020B0606020202030204" pitchFamily="34" charset="0"/>
              </a:rPr>
              <a:t> превосходит другие </a:t>
            </a:r>
            <a:r>
              <a:rPr lang="ru-RU" altLang="ru-RU" sz="2000" b="1" dirty="0" err="1">
                <a:solidFill>
                  <a:srgbClr val="9B2560"/>
                </a:solidFill>
                <a:latin typeface="Arial Narrow" panose="020B0606020202030204" pitchFamily="34" charset="0"/>
              </a:rPr>
              <a:t>иГКС</a:t>
            </a:r>
            <a:r>
              <a:rPr lang="ru-RU" altLang="ru-RU" sz="2000" b="1" dirty="0">
                <a:solidFill>
                  <a:srgbClr val="9B2560"/>
                </a:solidFill>
                <a:latin typeface="Arial Narrow" panose="020B0606020202030204" pitchFamily="34" charset="0"/>
              </a:rPr>
              <a:t>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err="1">
                <a:solidFill>
                  <a:srgbClr val="9B2560"/>
                </a:solidFill>
                <a:latin typeface="Arial Narrow" panose="020B0606020202030204" pitchFamily="34" charset="0"/>
              </a:rPr>
              <a:t>Будесонид</a:t>
            </a:r>
            <a:r>
              <a:rPr lang="ru-RU" altLang="ru-RU" sz="2000" b="1" dirty="0">
                <a:solidFill>
                  <a:srgbClr val="9B2560"/>
                </a:solidFill>
                <a:latin typeface="Arial Narrow" panose="020B0606020202030204" pitchFamily="34" charset="0"/>
              </a:rPr>
              <a:t> быстрее абсорбируется с поверхности бронхов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419872" y="1988840"/>
            <a:ext cx="550765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ремя растворения ГКС в воде и бронхиальном секрете</a:t>
            </a:r>
          </a:p>
        </p:txBody>
      </p:sp>
      <p:pic>
        <p:nvPicPr>
          <p:cNvPr id="94215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39" b="18097"/>
          <a:stretch>
            <a:fillRect/>
          </a:stretch>
        </p:blipFill>
        <p:spPr bwMode="auto">
          <a:xfrm>
            <a:off x="467546" y="2327407"/>
            <a:ext cx="8641531" cy="4038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33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187451" y="395291"/>
            <a:ext cx="78478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3200" b="1" kern="0" dirty="0">
                <a:solidFill>
                  <a:srgbClr val="C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мбинации ИГКС/ДДБА в лечении БА у детей</a:t>
            </a:r>
          </a:p>
        </p:txBody>
      </p:sp>
      <p:sp>
        <p:nvSpPr>
          <p:cNvPr id="6" name="Rectangle 5"/>
          <p:cNvSpPr/>
          <p:nvPr/>
        </p:nvSpPr>
        <p:spPr>
          <a:xfrm>
            <a:off x="1316039" y="2759152"/>
            <a:ext cx="7070725" cy="461665"/>
          </a:xfrm>
          <a:prstGeom prst="rect">
            <a:avLst/>
          </a:prstGeom>
          <a:solidFill>
            <a:schemeClr val="bg1"/>
          </a:solidFill>
          <a:ln>
            <a:solidFill>
              <a:srgbClr val="E7E6E6"/>
            </a:solidFill>
          </a:ln>
        </p:spPr>
        <p:txBody>
          <a:bodyPr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лутиказона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пионат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+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алметерол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 4 лет</a:t>
            </a:r>
          </a:p>
        </p:txBody>
      </p:sp>
      <p:sp>
        <p:nvSpPr>
          <p:cNvPr id="9" name="Rectangle 8"/>
          <p:cNvSpPr/>
          <p:nvPr/>
        </p:nvSpPr>
        <p:spPr>
          <a:xfrm>
            <a:off x="1316039" y="3933878"/>
            <a:ext cx="7070725" cy="946413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лутиказона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уроат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+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илантерол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с 12 лет</a:t>
            </a:r>
            <a:endParaRPr lang="en-US" sz="2400" b="1" i="1" kern="0" dirty="0">
              <a:solidFill>
                <a:sysClr val="windowText" lastClr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>
              <a:spcAft>
                <a:spcPts val="900"/>
              </a:spcAft>
              <a:defRPr/>
            </a:pP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			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</a:t>
            </a:r>
            <a:endParaRPr lang="ru-RU" sz="2400" b="1" i="1" kern="0" dirty="0">
              <a:solidFill>
                <a:sysClr val="windowText" lastClr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331641" y="4437112"/>
            <a:ext cx="7070618" cy="900246"/>
          </a:xfrm>
          <a:prstGeom prst="rect">
            <a:avLst/>
          </a:prstGeom>
          <a:noFill/>
          <a:ln>
            <a:solidFill>
              <a:srgbClr val="E7E6E6"/>
            </a:solidFill>
          </a:ln>
        </p:spPr>
        <p:txBody>
          <a:bodyPr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Мометазона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уроат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+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отерол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c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12 лет</a:t>
            </a:r>
            <a:endParaRPr lang="en-US" sz="2400" b="1" i="1" kern="0" dirty="0">
              <a:solidFill>
                <a:sysClr val="windowText" lastClr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7">
              <a:spcAft>
                <a:spcPts val="900"/>
              </a:spcAft>
              <a:defRPr/>
            </a:pPr>
            <a:r>
              <a:rPr lang="en-US" sz="2100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</a:t>
            </a:r>
            <a:endParaRPr lang="ru-RU" sz="2400" kern="0" dirty="0">
              <a:solidFill>
                <a:sysClr val="windowText" lastClr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331915" y="1928839"/>
            <a:ext cx="7070725" cy="461665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ормотерол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+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будесонид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</a:t>
            </a:r>
            <a:r>
              <a:rPr lang="ru-RU" sz="2400" b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 6 ле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71693" y="6150113"/>
            <a:ext cx="813567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 – бронхиальная астма; ИГКС – ингаляционные глюкокортикостероиды; ДДБА – длительнодействующий бронходилататор</a:t>
            </a:r>
          </a:p>
          <a:p>
            <a:pPr>
              <a:defRPr/>
            </a:pP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1000" b="1" i="1" kern="0" dirty="0" err="1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1000" b="1" i="1" kern="0" dirty="0">
                <a:solidFill>
                  <a:sysClr val="windowText" lastClr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31916" y="3357614"/>
            <a:ext cx="7056437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 Г К С +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иотропий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2400" b="1" i="1" kern="0" dirty="0" err="1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спимат</a:t>
            </a:r>
            <a:r>
              <a:rPr lang="en-US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</a:t>
            </a:r>
            <a:r>
              <a:rPr lang="ru-RU" sz="2400" b="1" i="1" kern="0" dirty="0">
                <a:solidFill>
                  <a:sysClr val="windowText" lastClr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 7 лет</a:t>
            </a:r>
          </a:p>
        </p:txBody>
      </p:sp>
    </p:spTree>
    <p:extLst>
      <p:ext uri="{BB962C8B-B14F-4D97-AF65-F5344CB8AC3E}">
        <p14:creationId xmlns:p14="http://schemas.microsoft.com/office/powerpoint/2010/main" val="2108177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7"/>
          <p:cNvSpPr>
            <a:spLocks noChangeArrowheads="1"/>
          </p:cNvSpPr>
          <p:nvPr/>
        </p:nvSpPr>
        <p:spPr bwMode="auto">
          <a:xfrm>
            <a:off x="900113" y="5932488"/>
            <a:ext cx="8243887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ГКС – ингаляционные </a:t>
            </a:r>
            <a:r>
              <a:rPr lang="ru-RU" altLang="ru-RU" sz="1000" b="1" i="1" kern="0" dirty="0" err="1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люкокортикостероиды</a:t>
            </a:r>
            <a:endParaRPr lang="ru-RU" altLang="ru-RU" sz="1000" b="1" i="1" kern="0" dirty="0">
              <a:solidFill>
                <a:sysClr val="windowText" lastClr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.</a:t>
            </a:r>
            <a:r>
              <a:rPr lang="en-GB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rom the Global Strategy for Asthma Management and Prevention, Global Initiative for Asthma (GINA) 201</a:t>
            </a: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7</a:t>
            </a:r>
            <a:r>
              <a:rPr lang="en-GB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Available from: </a:t>
            </a:r>
            <a:r>
              <a:rPr lang="en-GB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://www.ginasthma.org/</a:t>
            </a: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. Национальная программа «Бронхиальная астма у детей. Стратегия лечения и профилактика». - 5-е изд., </a:t>
            </a:r>
            <a:r>
              <a:rPr lang="ru-RU" altLang="ru-RU" sz="1000" b="1" i="1" kern="0" dirty="0" err="1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altLang="ru-RU" sz="1000" b="1" i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  <p:sp>
        <p:nvSpPr>
          <p:cNvPr id="595971" name="Rectangle 2"/>
          <p:cNvSpPr>
            <a:spLocks noChangeArrowheads="1"/>
          </p:cNvSpPr>
          <p:nvPr/>
        </p:nvSpPr>
        <p:spPr bwMode="auto">
          <a:xfrm>
            <a:off x="1331913" y="193675"/>
            <a:ext cx="734377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Длительность БАЗИСНОЙ терапии астмы у детей: как долго принимать ИГКС?</a:t>
            </a:r>
          </a:p>
        </p:txBody>
      </p:sp>
      <p:pic>
        <p:nvPicPr>
          <p:cNvPr id="59597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87" b="19286"/>
          <a:stretch>
            <a:fillRect/>
          </a:stretch>
        </p:blipFill>
        <p:spPr bwMode="auto">
          <a:xfrm>
            <a:off x="827088" y="1412875"/>
            <a:ext cx="8450262" cy="450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133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94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ru-RU" sz="3200" smtClean="0">
                <a:solidFill>
                  <a:schemeClr val="hlink"/>
                </a:solidFill>
              </a:rPr>
              <a:t>Лейкотриены играют ключевую роль в патогенезе респираторных заболеваний, индуцированных вирусной инфекцией</a:t>
            </a:r>
          </a:p>
        </p:txBody>
      </p:sp>
      <p:sp>
        <p:nvSpPr>
          <p:cNvPr id="596995" name="Rectangle 3"/>
          <p:cNvSpPr>
            <a:spLocks noGrp="1"/>
          </p:cNvSpPr>
          <p:nvPr>
            <p:ph type="body" idx="4294967295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ru-RU" sz="2800" smtClean="0"/>
              <a:t>повышение концентраций </a:t>
            </a:r>
            <a:r>
              <a:rPr lang="en-US" sz="2800" smtClean="0"/>
              <a:t>LT</a:t>
            </a:r>
            <a:r>
              <a:rPr lang="ru-RU" sz="2800" smtClean="0"/>
              <a:t>С4 в назофарингеальном секрете при вирусной инфекции у детей младшей возрастной группы с вовлечением нижних дыхательных путей, по сравнению с пациентами, у которых отмечались лишь симптомы со стороны верхних отделов дыхательных путей. </a:t>
            </a:r>
            <a:endParaRPr lang="en-US" sz="2800" smtClean="0"/>
          </a:p>
          <a:p>
            <a:pPr eaLnBrk="1" hangingPunct="1">
              <a:lnSpc>
                <a:spcPct val="80000"/>
              </a:lnSpc>
            </a:pPr>
            <a:r>
              <a:rPr lang="ru-RU" sz="2800" smtClean="0"/>
              <a:t>Эти изменения, которые обнаруживаются до 4 недель после дебюта респираторного заболевания, индуцированного вирусной инфекцией, указывают на необходимость длительного лечения. </a:t>
            </a:r>
          </a:p>
        </p:txBody>
      </p:sp>
      <p:sp>
        <p:nvSpPr>
          <p:cNvPr id="596996" name="Text Box 4"/>
          <p:cNvSpPr txBox="1">
            <a:spLocks noChangeArrowheads="1"/>
          </p:cNvSpPr>
          <p:nvPr/>
        </p:nvSpPr>
        <p:spPr bwMode="auto">
          <a:xfrm>
            <a:off x="2843213" y="6165850"/>
            <a:ext cx="5976937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mtClean="0">
                <a:solidFill>
                  <a:srgbClr val="000000"/>
                </a:solidFill>
                <a:latin typeface="Arial" pitchFamily="34" charset="0"/>
              </a:rPr>
              <a:t>Ducharme FM. Cochrane Database 9/st Rev. 2004</a:t>
            </a:r>
            <a:r>
              <a:rPr lang="ru-RU" smtClean="0">
                <a:solidFill>
                  <a:srgbClr val="000000"/>
                </a:solidFill>
                <a:latin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8954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018" name="Rectangle 6"/>
          <p:cNvSpPr>
            <a:spLocks noChangeArrowheads="1"/>
          </p:cNvSpPr>
          <p:nvPr/>
        </p:nvSpPr>
        <p:spPr bwMode="auto">
          <a:xfrm>
            <a:off x="1258888" y="358775"/>
            <a:ext cx="7508875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Антагонисты лейкотриеновых рецепторов (АЛР)</a:t>
            </a:r>
          </a:p>
        </p:txBody>
      </p:sp>
      <p:sp>
        <p:nvSpPr>
          <p:cNvPr id="95235" name="Rectangle 8"/>
          <p:cNvSpPr>
            <a:spLocks noChangeArrowheads="1"/>
          </p:cNvSpPr>
          <p:nvPr/>
        </p:nvSpPr>
        <p:spPr bwMode="auto">
          <a:xfrm>
            <a:off x="684213" y="1557338"/>
            <a:ext cx="8459787" cy="509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14313" indent="-2143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Альтернативная </a:t>
            </a:r>
            <a:r>
              <a:rPr lang="ru-RU" altLang="ru-RU" sz="2800" b="1" u="sng" dirty="0" err="1">
                <a:solidFill>
                  <a:prstClr val="black"/>
                </a:solidFill>
                <a:latin typeface="Arial Narrow" panose="020B0606020202030204" pitchFamily="34" charset="0"/>
              </a:rPr>
              <a:t>монотерапии</a:t>
            </a: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 у детей с </a:t>
            </a:r>
            <a:r>
              <a:rPr lang="ru-RU" altLang="ru-RU" sz="28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легкой БА</a:t>
            </a:r>
            <a:r>
              <a:rPr lang="ru-RU" altLang="ru-RU" sz="2800" b="1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endParaRPr lang="ru-RU" alt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marL="0" indent="0" eaLnBrk="1" fontAlgn="base" hangingPunct="1">
              <a:spcBef>
                <a:spcPct val="0"/>
              </a:spcBef>
              <a:spcAft>
                <a:spcPts val="900"/>
              </a:spcAft>
              <a:defRPr/>
            </a:pPr>
            <a:r>
              <a:rPr lang="ru-RU" alt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с </a:t>
            </a:r>
            <a:r>
              <a:rPr lang="ru-RU" altLang="ru-RU" sz="2800" b="1" dirty="0">
                <a:solidFill>
                  <a:srgbClr val="002060"/>
                </a:solidFill>
                <a:latin typeface="Arial Narrow" panose="020B0606020202030204" pitchFamily="34" charset="0"/>
              </a:rPr>
              <a:t>2-х лет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endParaRPr lang="ru-RU" altLang="ru-RU" sz="28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пациентам с БА и сопутствующим аллергическим ринитом.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С </a:t>
            </a:r>
            <a:r>
              <a:rPr lang="ru-RU" altLang="ru-RU" sz="28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вирусиндуцированной</a:t>
            </a: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 БА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БФН </a:t>
            </a:r>
          </a:p>
          <a:p>
            <a:pPr eaLnBrk="1" fontAlgn="base" hangingPunct="1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defRPr/>
            </a:pP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У детей со среднетяжелой и тяжелой БА </a:t>
            </a:r>
            <a:r>
              <a:rPr lang="ru-RU" altLang="ru-RU" sz="2800" b="1" dirty="0" err="1">
                <a:solidFill>
                  <a:prstClr val="black"/>
                </a:solidFill>
                <a:latin typeface="Arial Narrow" panose="020B0606020202030204" pitchFamily="34" charset="0"/>
              </a:rPr>
              <a:t>антилейкотриеновые</a:t>
            </a: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 препараты назначают </a:t>
            </a:r>
            <a:r>
              <a:rPr lang="ru-RU" altLang="ru-RU" sz="28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дополнительно</a:t>
            </a:r>
            <a:r>
              <a:rPr lang="ru-RU" altLang="ru-RU" sz="2800" b="1" dirty="0">
                <a:solidFill>
                  <a:prstClr val="black"/>
                </a:solidFill>
                <a:latin typeface="Arial Narrow" panose="020B0606020202030204" pitchFamily="34" charset="0"/>
              </a:rPr>
              <a:t> при недостаточном контроле ИГКС.</a:t>
            </a:r>
          </a:p>
        </p:txBody>
      </p:sp>
    </p:spTree>
    <p:extLst>
      <p:ext uri="{BB962C8B-B14F-4D97-AF65-F5344CB8AC3E}">
        <p14:creationId xmlns:p14="http://schemas.microsoft.com/office/powerpoint/2010/main" val="3757804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ext Box 3"/>
          <p:cNvSpPr txBox="1">
            <a:spLocks noChangeArrowheads="1"/>
          </p:cNvSpPr>
          <p:nvPr/>
        </p:nvSpPr>
        <p:spPr bwMode="auto">
          <a:xfrm flipH="1">
            <a:off x="6794500" y="2278095"/>
            <a:ext cx="2351088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prstClr val="black"/>
                </a:solidFill>
              </a:rPr>
              <a:t>Подавляют образовани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prstClr val="black"/>
                </a:solidFill>
              </a:rPr>
              <a:t>медиаторов воспаления </a:t>
            </a:r>
            <a:endParaRPr lang="en-GB" altLang="ru-RU" sz="1600" b="1" dirty="0">
              <a:solidFill>
                <a:prstClr val="black"/>
              </a:solidFill>
            </a:endParaRPr>
          </a:p>
        </p:txBody>
      </p:sp>
      <p:sp>
        <p:nvSpPr>
          <p:cNvPr id="96259" name="Text Box 4"/>
          <p:cNvSpPr txBox="1">
            <a:spLocks noChangeArrowheads="1"/>
          </p:cNvSpPr>
          <p:nvPr/>
        </p:nvSpPr>
        <p:spPr bwMode="auto">
          <a:xfrm flipH="1">
            <a:off x="350839" y="2260635"/>
            <a:ext cx="2768600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>
                <a:solidFill>
                  <a:prstClr val="black"/>
                </a:solidFill>
              </a:rPr>
              <a:t>Блокируют действие (рецепторы!)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600" b="1" dirty="0" err="1">
                <a:solidFill>
                  <a:prstClr val="black"/>
                </a:solidFill>
              </a:rPr>
              <a:t>цистеиновых</a:t>
            </a:r>
            <a:r>
              <a:rPr lang="ru-RU" altLang="ru-RU" sz="1600" b="1" dirty="0">
                <a:solidFill>
                  <a:prstClr val="black"/>
                </a:solidFill>
              </a:rPr>
              <a:t> </a:t>
            </a:r>
            <a:r>
              <a:rPr lang="ru-RU" altLang="ru-RU" sz="1600" b="1" dirty="0" err="1">
                <a:solidFill>
                  <a:prstClr val="black"/>
                </a:solidFill>
              </a:rPr>
              <a:t>лейкотриенов</a:t>
            </a:r>
            <a:r>
              <a:rPr lang="ru-RU" altLang="ru-RU" sz="1600" b="1" dirty="0">
                <a:solidFill>
                  <a:prstClr val="black"/>
                </a:solidFill>
              </a:rPr>
              <a:t> </a:t>
            </a:r>
            <a:endParaRPr lang="en-GB" altLang="ru-RU" sz="1600" b="1" dirty="0">
              <a:solidFill>
                <a:prstClr val="black"/>
              </a:solidFill>
            </a:endParaRPr>
          </a:p>
        </p:txBody>
      </p:sp>
      <p:sp>
        <p:nvSpPr>
          <p:cNvPr id="96260" name="AutoShape 5"/>
          <p:cNvSpPr>
            <a:spLocks noChangeArrowheads="1"/>
          </p:cNvSpPr>
          <p:nvPr/>
        </p:nvSpPr>
        <p:spPr bwMode="auto">
          <a:xfrm flipH="1">
            <a:off x="5908675" y="2359461"/>
            <a:ext cx="714375" cy="276999"/>
          </a:xfrm>
          <a:prstGeom prst="curvedLeftArrow">
            <a:avLst>
              <a:gd name="adj1" fmla="val 20000"/>
              <a:gd name="adj2" fmla="val 40000"/>
              <a:gd name="adj3" fmla="val 34272"/>
            </a:avLst>
          </a:prstGeom>
          <a:gradFill rotWithShape="0">
            <a:gsLst>
              <a:gs pos="0">
                <a:srgbClr val="FFFFFF"/>
              </a:gs>
              <a:gs pos="100000">
                <a:srgbClr val="FF7C80"/>
              </a:gs>
            </a:gsLst>
            <a:lin ang="5400000" scaled="1"/>
          </a:gradFill>
          <a:ln w="9525">
            <a:solidFill>
              <a:srgbClr val="FFFFFF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335302" name="Rectangle 6"/>
          <p:cNvSpPr>
            <a:spLocks noChangeArrowheads="1"/>
          </p:cNvSpPr>
          <p:nvPr/>
        </p:nvSpPr>
        <p:spPr bwMode="auto">
          <a:xfrm flipH="1">
            <a:off x="6027757" y="1226512"/>
            <a:ext cx="3068637" cy="935037"/>
          </a:xfrm>
          <a:prstGeom prst="rect">
            <a:avLst/>
          </a:prstGeom>
          <a:solidFill>
            <a:srgbClr val="FF66CC"/>
          </a:solidFill>
          <a:ln>
            <a:noFill/>
          </a:ln>
          <a:effectLst>
            <a:glow rad="127000">
              <a:schemeClr val="accent1">
                <a:alpha val="40000"/>
              </a:schemeClr>
            </a:glow>
          </a:effectLst>
          <a:extLst/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Ингаляционные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глюкокортикостероиды </a:t>
            </a:r>
            <a:b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(ИГКС)</a:t>
            </a:r>
            <a:endParaRPr lang="en-GB" b="1" dirty="0">
              <a:solidFill>
                <a:prstClr val="white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96264" name="AutoShape 7"/>
          <p:cNvSpPr>
            <a:spLocks noChangeArrowheads="1"/>
          </p:cNvSpPr>
          <p:nvPr/>
        </p:nvSpPr>
        <p:spPr bwMode="auto">
          <a:xfrm>
            <a:off x="2895643" y="2359461"/>
            <a:ext cx="739775" cy="276999"/>
          </a:xfrm>
          <a:prstGeom prst="curvedLeftArrow">
            <a:avLst>
              <a:gd name="adj1" fmla="val 20000"/>
              <a:gd name="adj2" fmla="val 40000"/>
              <a:gd name="adj3" fmla="val 48390"/>
            </a:avLst>
          </a:prstGeom>
          <a:gradFill rotWithShape="0">
            <a:gsLst>
              <a:gs pos="0">
                <a:srgbClr val="99CCFF"/>
              </a:gs>
              <a:gs pos="100000">
                <a:srgbClr val="0000FF"/>
              </a:gs>
            </a:gsLst>
            <a:lin ang="5400000" scaled="1"/>
          </a:gradFill>
          <a:ln w="9525">
            <a:solidFill>
              <a:srgbClr val="99CCFF"/>
            </a:solidFill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1335304" name="Rectangle 8"/>
          <p:cNvSpPr>
            <a:spLocks noChangeArrowheads="1"/>
          </p:cNvSpPr>
          <p:nvPr/>
        </p:nvSpPr>
        <p:spPr bwMode="auto">
          <a:xfrm flipH="1">
            <a:off x="223838" y="1179512"/>
            <a:ext cx="3290887" cy="958851"/>
          </a:xfrm>
          <a:prstGeom prst="rect">
            <a:avLst/>
          </a:prstGeom>
          <a:solidFill>
            <a:srgbClr val="0070C0"/>
          </a:solidFill>
          <a:ln>
            <a:noFill/>
          </a:ln>
          <a:effectLst>
            <a:glow rad="127000">
              <a:schemeClr val="accent1">
                <a:alpha val="40000"/>
              </a:schemeClr>
            </a:glow>
          </a:effectLst>
        </p:spPr>
        <p:txBody>
          <a:bodyPr wrap="none" lIns="0" tIns="0" rIns="0" bIns="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None/>
              <a:defRPr/>
            </a:pP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Антагонисты </a:t>
            </a:r>
            <a:b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лейкотриеновых </a:t>
            </a:r>
            <a:b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</a:br>
            <a:r>
              <a:rPr lang="ru-RU" b="1" dirty="0">
                <a:solidFill>
                  <a:prstClr val="white"/>
                </a:solidFill>
                <a:latin typeface="Arial" charset="0"/>
                <a:cs typeface="Arial" panose="020B0604020202020204" pitchFamily="34" charset="0"/>
              </a:rPr>
              <a:t>рецепторов (АЛТР)</a:t>
            </a:r>
            <a:endParaRPr lang="en-GB" b="1" dirty="0">
              <a:solidFill>
                <a:prstClr val="white"/>
              </a:solidFill>
              <a:latin typeface="Arial" charset="0"/>
              <a:cs typeface="Arial" panose="020B0604020202020204" pitchFamily="34" charset="0"/>
            </a:endParaRPr>
          </a:p>
        </p:txBody>
      </p:sp>
      <p:sp>
        <p:nvSpPr>
          <p:cNvPr id="96268" name="Text Box 9"/>
          <p:cNvSpPr txBox="1">
            <a:spLocks noChangeArrowheads="1"/>
          </p:cNvSpPr>
          <p:nvPr/>
        </p:nvSpPr>
        <p:spPr bwMode="auto">
          <a:xfrm>
            <a:off x="157163" y="4114854"/>
            <a:ext cx="8823325" cy="1762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50000"/>
              </a:spcAft>
            </a:pPr>
            <a:r>
              <a:rPr lang="ru-RU" altLang="ru-RU" sz="2000" b="1" dirty="0">
                <a:solidFill>
                  <a:prstClr val="black"/>
                </a:solidFill>
              </a:rPr>
              <a:t>КОМПЛЕМЕНТАРНЫЙ (взаимодополняющий) эффект</a:t>
            </a: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33E"/>
              </a:buClr>
              <a:buFont typeface="Wingdings" panose="05000000000000000000" pitchFamily="2" charset="2"/>
              <a:buChar char="ü"/>
            </a:pPr>
            <a:r>
              <a:rPr lang="ru-RU" altLang="ru-RU" b="1" dirty="0">
                <a:solidFill>
                  <a:prstClr val="black"/>
                </a:solidFill>
              </a:rPr>
              <a:t>ГКС не полностью блокируют образование </a:t>
            </a:r>
            <a:r>
              <a:rPr lang="ru-RU" altLang="ru-RU" b="1" dirty="0" err="1">
                <a:solidFill>
                  <a:prstClr val="black"/>
                </a:solidFill>
              </a:rPr>
              <a:t>цистеиниловы</a:t>
            </a:r>
            <a:r>
              <a:rPr lang="en-US" altLang="ru-RU" b="1" dirty="0">
                <a:solidFill>
                  <a:prstClr val="black"/>
                </a:solidFill>
              </a:rPr>
              <a:t>x</a:t>
            </a:r>
            <a:r>
              <a:rPr lang="ru-RU" altLang="ru-RU" b="1" dirty="0">
                <a:solidFill>
                  <a:prstClr val="black"/>
                </a:solidFill>
              </a:rPr>
              <a:t> </a:t>
            </a:r>
            <a:r>
              <a:rPr lang="ru-RU" altLang="ru-RU" b="1" dirty="0" err="1">
                <a:solidFill>
                  <a:prstClr val="black"/>
                </a:solidFill>
              </a:rPr>
              <a:t>лейкотриенов</a:t>
            </a:r>
            <a:r>
              <a:rPr lang="ru-RU" altLang="ru-RU" b="1" dirty="0">
                <a:solidFill>
                  <a:prstClr val="black"/>
                </a:solidFill>
              </a:rPr>
              <a:t> в дыхательных путях больных астмой и не блокируют эффекты на уровне рецепторов</a:t>
            </a:r>
            <a:endParaRPr lang="en-GB" altLang="ru-RU" b="1" dirty="0">
              <a:solidFill>
                <a:prstClr val="black"/>
              </a:solidFill>
            </a:endParaRPr>
          </a:p>
          <a:p>
            <a:pPr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00433E"/>
              </a:buClr>
              <a:buFont typeface="Wingdings" panose="05000000000000000000" pitchFamily="2" charset="2"/>
              <a:buChar char="ü"/>
            </a:pPr>
            <a:r>
              <a:rPr lang="ru-RU" altLang="ru-RU" b="1" dirty="0">
                <a:solidFill>
                  <a:prstClr val="black"/>
                </a:solidFill>
              </a:rPr>
              <a:t>АЛТР (</a:t>
            </a:r>
            <a:r>
              <a:rPr lang="ru-RU" altLang="ru-RU" b="1" dirty="0" err="1">
                <a:solidFill>
                  <a:prstClr val="black"/>
                </a:solidFill>
              </a:rPr>
              <a:t>Монтелукаст</a:t>
            </a:r>
            <a:r>
              <a:rPr lang="ru-RU" altLang="ru-RU" b="1" dirty="0">
                <a:solidFill>
                  <a:prstClr val="black"/>
                </a:solidFill>
              </a:rPr>
              <a:t>) блокирует механизм астматического воспаления, связанный с действием </a:t>
            </a:r>
            <a:r>
              <a:rPr lang="ru-RU" altLang="ru-RU" b="1" dirty="0" err="1">
                <a:solidFill>
                  <a:prstClr val="black"/>
                </a:solidFill>
              </a:rPr>
              <a:t>цистеиниловых</a:t>
            </a:r>
            <a:r>
              <a:rPr lang="ru-RU" altLang="ru-RU" b="1" dirty="0">
                <a:solidFill>
                  <a:prstClr val="black"/>
                </a:solidFill>
              </a:rPr>
              <a:t> </a:t>
            </a:r>
            <a:r>
              <a:rPr lang="ru-RU" altLang="ru-RU" b="1" dirty="0" err="1">
                <a:solidFill>
                  <a:prstClr val="black"/>
                </a:solidFill>
              </a:rPr>
              <a:t>лейкотриенов</a:t>
            </a:r>
            <a:endParaRPr lang="ru-RU" altLang="ru-RU" b="1" dirty="0">
              <a:solidFill>
                <a:prstClr val="black"/>
              </a:solidFill>
            </a:endParaRPr>
          </a:p>
        </p:txBody>
      </p:sp>
      <p:sp>
        <p:nvSpPr>
          <p:cNvPr id="96269" name="Text Box 10"/>
          <p:cNvSpPr txBox="1">
            <a:spLocks noChangeArrowheads="1"/>
          </p:cNvSpPr>
          <p:nvPr/>
        </p:nvSpPr>
        <p:spPr bwMode="auto">
          <a:xfrm>
            <a:off x="247650" y="6218264"/>
            <a:ext cx="84216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ru-RU" sz="1000" b="1" dirty="0" err="1">
                <a:solidFill>
                  <a:prstClr val="black"/>
                </a:solidFill>
              </a:rPr>
              <a:t>Diamant</a:t>
            </a:r>
            <a:r>
              <a:rPr lang="en-US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 err="1">
                <a:solidFill>
                  <a:prstClr val="black"/>
                </a:solidFill>
              </a:rPr>
              <a:t>Clin</a:t>
            </a:r>
            <a:r>
              <a:rPr lang="en-US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 err="1">
                <a:solidFill>
                  <a:prstClr val="black"/>
                </a:solidFill>
              </a:rPr>
              <a:t>Exp</a:t>
            </a:r>
            <a:r>
              <a:rPr lang="en-US" altLang="ru-RU" sz="1000" b="1" dirty="0">
                <a:solidFill>
                  <a:prstClr val="black"/>
                </a:solidFill>
              </a:rPr>
              <a:t> All 1999;29:1449-1453;</a:t>
            </a:r>
            <a:r>
              <a:rPr lang="ru-RU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>
                <a:solidFill>
                  <a:prstClr val="black"/>
                </a:solidFill>
              </a:rPr>
              <a:t>Barnes Am J </a:t>
            </a:r>
            <a:r>
              <a:rPr lang="en-US" altLang="ru-RU" sz="1000" b="1" dirty="0" err="1">
                <a:solidFill>
                  <a:prstClr val="black"/>
                </a:solidFill>
              </a:rPr>
              <a:t>resp</a:t>
            </a:r>
            <a:r>
              <a:rPr lang="en-US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 err="1">
                <a:solidFill>
                  <a:prstClr val="black"/>
                </a:solidFill>
              </a:rPr>
              <a:t>Crit</a:t>
            </a:r>
            <a:r>
              <a:rPr lang="en-US" altLang="ru-RU" sz="1000" b="1" dirty="0">
                <a:solidFill>
                  <a:prstClr val="black"/>
                </a:solidFill>
              </a:rPr>
              <a:t> Care Med 1996;154:S21-S27; </a:t>
            </a:r>
            <a:r>
              <a:rPr lang="ru-RU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>
                <a:solidFill>
                  <a:prstClr val="black"/>
                </a:solidFill>
              </a:rPr>
              <a:t>Holgate J Allergy </a:t>
            </a:r>
            <a:r>
              <a:rPr lang="en-US" altLang="ru-RU" sz="1000" b="1" dirty="0" err="1">
                <a:solidFill>
                  <a:prstClr val="black"/>
                </a:solidFill>
              </a:rPr>
              <a:t>Clin</a:t>
            </a:r>
            <a:r>
              <a:rPr lang="en-US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 err="1">
                <a:solidFill>
                  <a:prstClr val="black"/>
                </a:solidFill>
              </a:rPr>
              <a:t>Immun</a:t>
            </a:r>
            <a:r>
              <a:rPr lang="ru-RU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>
                <a:solidFill>
                  <a:prstClr val="black"/>
                </a:solidFill>
              </a:rPr>
              <a:t>1996;98:1-13; </a:t>
            </a:r>
            <a:r>
              <a:rPr lang="en-US" altLang="ru-RU" sz="1000" b="1" dirty="0" err="1">
                <a:solidFill>
                  <a:prstClr val="black"/>
                </a:solidFill>
              </a:rPr>
              <a:t>Claesson</a:t>
            </a:r>
            <a:r>
              <a:rPr lang="en-US" altLang="ru-RU" sz="1000" b="1" dirty="0">
                <a:solidFill>
                  <a:prstClr val="black"/>
                </a:solidFill>
              </a:rPr>
              <a:t> J Intern Med 1999;245:205-227; </a:t>
            </a:r>
            <a:r>
              <a:rPr lang="ru-RU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>
                <a:solidFill>
                  <a:prstClr val="black"/>
                </a:solidFill>
              </a:rPr>
              <a:t>Price Thorax 2003)58:211-216;</a:t>
            </a:r>
            <a:r>
              <a:rPr lang="ru-RU" altLang="ru-RU" sz="1000" b="1" dirty="0">
                <a:solidFill>
                  <a:prstClr val="black"/>
                </a:solidFill>
              </a:rPr>
              <a:t>  </a:t>
            </a:r>
            <a:r>
              <a:rPr lang="en-US" altLang="ru-RU" sz="1000" b="1" dirty="0" err="1">
                <a:solidFill>
                  <a:prstClr val="black"/>
                </a:solidFill>
              </a:rPr>
              <a:t>Dworski</a:t>
            </a:r>
            <a:r>
              <a:rPr lang="en-US" altLang="ru-RU" sz="1000" b="1" dirty="0">
                <a:solidFill>
                  <a:prstClr val="black"/>
                </a:solidFill>
              </a:rPr>
              <a:t> Am J </a:t>
            </a:r>
            <a:r>
              <a:rPr lang="en-US" altLang="ru-RU" sz="1000" b="1" dirty="0" err="1">
                <a:solidFill>
                  <a:prstClr val="black"/>
                </a:solidFill>
              </a:rPr>
              <a:t>Resp</a:t>
            </a:r>
            <a:r>
              <a:rPr lang="en-US" altLang="ru-RU" sz="1000" b="1" dirty="0">
                <a:solidFill>
                  <a:prstClr val="black"/>
                </a:solidFill>
              </a:rPr>
              <a:t> </a:t>
            </a:r>
            <a:r>
              <a:rPr lang="en-US" altLang="ru-RU" sz="1000" b="1" dirty="0" err="1">
                <a:solidFill>
                  <a:prstClr val="black"/>
                </a:solidFill>
              </a:rPr>
              <a:t>Crit</a:t>
            </a:r>
            <a:r>
              <a:rPr lang="en-US" altLang="ru-RU" sz="1000" b="1" dirty="0">
                <a:solidFill>
                  <a:prstClr val="black"/>
                </a:solidFill>
              </a:rPr>
              <a:t> Care Med 1994)149:953-959</a:t>
            </a:r>
            <a:endParaRPr lang="ru-RU" altLang="ru-RU" sz="1000" b="1" dirty="0">
              <a:solidFill>
                <a:prstClr val="black"/>
              </a:solidFill>
            </a:endParaRPr>
          </a:p>
        </p:txBody>
      </p:sp>
      <p:sp>
        <p:nvSpPr>
          <p:cNvPr id="96270" name="Text Box 12"/>
          <p:cNvSpPr txBox="1">
            <a:spLocks noChangeArrowheads="1"/>
          </p:cNvSpPr>
          <p:nvPr/>
        </p:nvSpPr>
        <p:spPr bwMode="auto">
          <a:xfrm>
            <a:off x="157163" y="152400"/>
            <a:ext cx="86010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3200" b="1">
                <a:solidFill>
                  <a:prstClr val="black"/>
                </a:solidFill>
                <a:latin typeface="Arial Narrow" panose="020B0606020202030204" pitchFamily="34" charset="0"/>
              </a:rPr>
              <a:t>        Гетерогенная астма: два пути воспаления</a:t>
            </a:r>
          </a:p>
        </p:txBody>
      </p:sp>
      <p:grpSp>
        <p:nvGrpSpPr>
          <p:cNvPr id="96271" name="Group 1690"/>
          <p:cNvGrpSpPr>
            <a:grpSpLocks/>
          </p:cNvGrpSpPr>
          <p:nvPr/>
        </p:nvGrpSpPr>
        <p:grpSpPr bwMode="auto">
          <a:xfrm>
            <a:off x="3765554" y="2162251"/>
            <a:ext cx="1914525" cy="1781175"/>
            <a:chOff x="3047" y="1921"/>
            <a:chExt cx="830" cy="834"/>
          </a:xfrm>
        </p:grpSpPr>
        <p:sp>
          <p:nvSpPr>
            <p:cNvPr id="96272" name="Freeform 1691"/>
            <p:cNvSpPr>
              <a:spLocks/>
            </p:cNvSpPr>
            <p:nvPr/>
          </p:nvSpPr>
          <p:spPr bwMode="auto">
            <a:xfrm>
              <a:off x="3047" y="1921"/>
              <a:ext cx="830" cy="834"/>
            </a:xfrm>
            <a:custGeom>
              <a:avLst/>
              <a:gdLst>
                <a:gd name="T0" fmla="*/ 8 w 883"/>
                <a:gd name="T1" fmla="*/ 5 h 918"/>
                <a:gd name="T2" fmla="*/ 8 w 883"/>
                <a:gd name="T3" fmla="*/ 5 h 918"/>
                <a:gd name="T4" fmla="*/ 8 w 883"/>
                <a:gd name="T5" fmla="*/ 5 h 918"/>
                <a:gd name="T6" fmla="*/ 8 w 883"/>
                <a:gd name="T7" fmla="*/ 5 h 918"/>
                <a:gd name="T8" fmla="*/ 8 w 883"/>
                <a:gd name="T9" fmla="*/ 5 h 918"/>
                <a:gd name="T10" fmla="*/ 8 w 883"/>
                <a:gd name="T11" fmla="*/ 5 h 918"/>
                <a:gd name="T12" fmla="*/ 8 w 883"/>
                <a:gd name="T13" fmla="*/ 5 h 918"/>
                <a:gd name="T14" fmla="*/ 8 w 883"/>
                <a:gd name="T15" fmla="*/ 5 h 918"/>
                <a:gd name="T16" fmla="*/ 8 w 883"/>
                <a:gd name="T17" fmla="*/ 5 h 918"/>
                <a:gd name="T18" fmla="*/ 8 w 883"/>
                <a:gd name="T19" fmla="*/ 5 h 918"/>
                <a:gd name="T20" fmla="*/ 8 w 883"/>
                <a:gd name="T21" fmla="*/ 5 h 918"/>
                <a:gd name="T22" fmla="*/ 8 w 883"/>
                <a:gd name="T23" fmla="*/ 5 h 918"/>
                <a:gd name="T24" fmla="*/ 8 w 883"/>
                <a:gd name="T25" fmla="*/ 5 h 918"/>
                <a:gd name="T26" fmla="*/ 8 w 883"/>
                <a:gd name="T27" fmla="*/ 5 h 918"/>
                <a:gd name="T28" fmla="*/ 8 w 883"/>
                <a:gd name="T29" fmla="*/ 5 h 918"/>
                <a:gd name="T30" fmla="*/ 8 w 883"/>
                <a:gd name="T31" fmla="*/ 5 h 918"/>
                <a:gd name="T32" fmla="*/ 8 w 883"/>
                <a:gd name="T33" fmla="*/ 5 h 918"/>
                <a:gd name="T34" fmla="*/ 8 w 883"/>
                <a:gd name="T35" fmla="*/ 5 h 918"/>
                <a:gd name="T36" fmla="*/ 8 w 883"/>
                <a:gd name="T37" fmla="*/ 5 h 918"/>
                <a:gd name="T38" fmla="*/ 8 w 883"/>
                <a:gd name="T39" fmla="*/ 5 h 918"/>
                <a:gd name="T40" fmla="*/ 8 w 883"/>
                <a:gd name="T41" fmla="*/ 5 h 918"/>
                <a:gd name="T42" fmla="*/ 8 w 883"/>
                <a:gd name="T43" fmla="*/ 5 h 918"/>
                <a:gd name="T44" fmla="*/ 8 w 883"/>
                <a:gd name="T45" fmla="*/ 5 h 918"/>
                <a:gd name="T46" fmla="*/ 8 w 883"/>
                <a:gd name="T47" fmla="*/ 5 h 918"/>
                <a:gd name="T48" fmla="*/ 8 w 883"/>
                <a:gd name="T49" fmla="*/ 5 h 918"/>
                <a:gd name="T50" fmla="*/ 8 w 883"/>
                <a:gd name="T51" fmla="*/ 5 h 918"/>
                <a:gd name="T52" fmla="*/ 8 w 883"/>
                <a:gd name="T53" fmla="*/ 5 h 918"/>
                <a:gd name="T54" fmla="*/ 8 w 883"/>
                <a:gd name="T55" fmla="*/ 5 h 918"/>
                <a:gd name="T56" fmla="*/ 8 w 883"/>
                <a:gd name="T57" fmla="*/ 5 h 918"/>
                <a:gd name="T58" fmla="*/ 8 w 883"/>
                <a:gd name="T59" fmla="*/ 5 h 918"/>
                <a:gd name="T60" fmla="*/ 8 w 883"/>
                <a:gd name="T61" fmla="*/ 5 h 918"/>
                <a:gd name="T62" fmla="*/ 8 w 883"/>
                <a:gd name="T63" fmla="*/ 5 h 918"/>
                <a:gd name="T64" fmla="*/ 8 w 883"/>
                <a:gd name="T65" fmla="*/ 5 h 918"/>
                <a:gd name="T66" fmla="*/ 8 w 883"/>
                <a:gd name="T67" fmla="*/ 5 h 918"/>
                <a:gd name="T68" fmla="*/ 7 w 883"/>
                <a:gd name="T69" fmla="*/ 5 h 918"/>
                <a:gd name="T70" fmla="*/ 0 w 883"/>
                <a:gd name="T71" fmla="*/ 5 h 918"/>
                <a:gd name="T72" fmla="*/ 0 w 883"/>
                <a:gd name="T73" fmla="*/ 5 h 918"/>
                <a:gd name="T74" fmla="*/ 8 w 883"/>
                <a:gd name="T75" fmla="*/ 5 h 918"/>
                <a:gd name="T76" fmla="*/ 8 w 883"/>
                <a:gd name="T77" fmla="*/ 5 h 918"/>
                <a:gd name="T78" fmla="*/ 8 w 883"/>
                <a:gd name="T79" fmla="*/ 5 h 918"/>
                <a:gd name="T80" fmla="*/ 8 w 883"/>
                <a:gd name="T81" fmla="*/ 5 h 918"/>
                <a:gd name="T82" fmla="*/ 8 w 883"/>
                <a:gd name="T83" fmla="*/ 5 h 918"/>
                <a:gd name="T84" fmla="*/ 8 w 883"/>
                <a:gd name="T85" fmla="*/ 5 h 918"/>
                <a:gd name="T86" fmla="*/ 8 w 883"/>
                <a:gd name="T87" fmla="*/ 5 h 918"/>
                <a:gd name="T88" fmla="*/ 8 w 883"/>
                <a:gd name="T89" fmla="*/ 5 h 918"/>
                <a:gd name="T90" fmla="*/ 8 w 883"/>
                <a:gd name="T91" fmla="*/ 5 h 918"/>
                <a:gd name="T92" fmla="*/ 8 w 883"/>
                <a:gd name="T93" fmla="*/ 5 h 918"/>
                <a:gd name="T94" fmla="*/ 8 w 883"/>
                <a:gd name="T95" fmla="*/ 5 h 918"/>
                <a:gd name="T96" fmla="*/ 8 w 883"/>
                <a:gd name="T97" fmla="*/ 5 h 918"/>
                <a:gd name="T98" fmla="*/ 8 w 883"/>
                <a:gd name="T99" fmla="*/ 5 h 918"/>
                <a:gd name="T100" fmla="*/ 8 w 883"/>
                <a:gd name="T101" fmla="*/ 5 h 918"/>
                <a:gd name="T102" fmla="*/ 8 w 883"/>
                <a:gd name="T103" fmla="*/ 0 h 918"/>
                <a:gd name="T104" fmla="*/ 8 w 883"/>
                <a:gd name="T105" fmla="*/ 0 h 918"/>
                <a:gd name="T106" fmla="*/ 8 w 883"/>
                <a:gd name="T107" fmla="*/ 5 h 918"/>
                <a:gd name="T108" fmla="*/ 8 w 883"/>
                <a:gd name="T109" fmla="*/ 5 h 918"/>
                <a:gd name="T110" fmla="*/ 8 w 883"/>
                <a:gd name="T111" fmla="*/ 5 h 91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3"/>
                <a:gd name="T169" fmla="*/ 0 h 918"/>
                <a:gd name="T170" fmla="*/ 883 w 883"/>
                <a:gd name="T171" fmla="*/ 918 h 91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3" h="918">
                  <a:moveTo>
                    <a:pt x="596" y="7"/>
                  </a:moveTo>
                  <a:lnTo>
                    <a:pt x="596" y="7"/>
                  </a:lnTo>
                  <a:lnTo>
                    <a:pt x="617" y="11"/>
                  </a:lnTo>
                  <a:lnTo>
                    <a:pt x="631" y="18"/>
                  </a:lnTo>
                  <a:lnTo>
                    <a:pt x="641" y="28"/>
                  </a:lnTo>
                  <a:lnTo>
                    <a:pt x="648" y="46"/>
                  </a:lnTo>
                  <a:lnTo>
                    <a:pt x="659" y="60"/>
                  </a:lnTo>
                  <a:lnTo>
                    <a:pt x="673" y="70"/>
                  </a:lnTo>
                  <a:lnTo>
                    <a:pt x="701" y="91"/>
                  </a:lnTo>
                  <a:lnTo>
                    <a:pt x="729" y="112"/>
                  </a:lnTo>
                  <a:lnTo>
                    <a:pt x="746" y="126"/>
                  </a:lnTo>
                  <a:lnTo>
                    <a:pt x="760" y="144"/>
                  </a:lnTo>
                  <a:lnTo>
                    <a:pt x="771" y="158"/>
                  </a:lnTo>
                  <a:lnTo>
                    <a:pt x="781" y="172"/>
                  </a:lnTo>
                  <a:lnTo>
                    <a:pt x="795" y="186"/>
                  </a:lnTo>
                  <a:lnTo>
                    <a:pt x="802" y="200"/>
                  </a:lnTo>
                  <a:lnTo>
                    <a:pt x="827" y="249"/>
                  </a:lnTo>
                  <a:lnTo>
                    <a:pt x="848" y="298"/>
                  </a:lnTo>
                  <a:lnTo>
                    <a:pt x="862" y="350"/>
                  </a:lnTo>
                  <a:lnTo>
                    <a:pt x="876" y="406"/>
                  </a:lnTo>
                  <a:lnTo>
                    <a:pt x="879" y="448"/>
                  </a:lnTo>
                  <a:lnTo>
                    <a:pt x="883" y="494"/>
                  </a:lnTo>
                  <a:lnTo>
                    <a:pt x="883" y="540"/>
                  </a:lnTo>
                  <a:lnTo>
                    <a:pt x="876" y="578"/>
                  </a:lnTo>
                  <a:lnTo>
                    <a:pt x="862" y="648"/>
                  </a:lnTo>
                  <a:lnTo>
                    <a:pt x="848" y="680"/>
                  </a:lnTo>
                  <a:lnTo>
                    <a:pt x="841" y="697"/>
                  </a:lnTo>
                  <a:lnTo>
                    <a:pt x="834" y="711"/>
                  </a:lnTo>
                  <a:lnTo>
                    <a:pt x="806" y="743"/>
                  </a:lnTo>
                  <a:lnTo>
                    <a:pt x="778" y="771"/>
                  </a:lnTo>
                  <a:lnTo>
                    <a:pt x="743" y="799"/>
                  </a:lnTo>
                  <a:lnTo>
                    <a:pt x="711" y="823"/>
                  </a:lnTo>
                  <a:lnTo>
                    <a:pt x="680" y="844"/>
                  </a:lnTo>
                  <a:lnTo>
                    <a:pt x="648" y="862"/>
                  </a:lnTo>
                  <a:lnTo>
                    <a:pt x="603" y="879"/>
                  </a:lnTo>
                  <a:lnTo>
                    <a:pt x="561" y="893"/>
                  </a:lnTo>
                  <a:lnTo>
                    <a:pt x="536" y="904"/>
                  </a:lnTo>
                  <a:lnTo>
                    <a:pt x="515" y="911"/>
                  </a:lnTo>
                  <a:lnTo>
                    <a:pt x="477" y="914"/>
                  </a:lnTo>
                  <a:lnTo>
                    <a:pt x="434" y="918"/>
                  </a:lnTo>
                  <a:lnTo>
                    <a:pt x="396" y="918"/>
                  </a:lnTo>
                  <a:lnTo>
                    <a:pt x="312" y="918"/>
                  </a:lnTo>
                  <a:lnTo>
                    <a:pt x="291" y="914"/>
                  </a:lnTo>
                  <a:lnTo>
                    <a:pt x="273" y="907"/>
                  </a:lnTo>
                  <a:lnTo>
                    <a:pt x="256" y="893"/>
                  </a:lnTo>
                  <a:lnTo>
                    <a:pt x="238" y="879"/>
                  </a:lnTo>
                  <a:lnTo>
                    <a:pt x="175" y="830"/>
                  </a:lnTo>
                  <a:lnTo>
                    <a:pt x="116" y="778"/>
                  </a:lnTo>
                  <a:lnTo>
                    <a:pt x="98" y="764"/>
                  </a:lnTo>
                  <a:lnTo>
                    <a:pt x="84" y="746"/>
                  </a:lnTo>
                  <a:lnTo>
                    <a:pt x="63" y="711"/>
                  </a:lnTo>
                  <a:lnTo>
                    <a:pt x="46" y="673"/>
                  </a:lnTo>
                  <a:lnTo>
                    <a:pt x="35" y="631"/>
                  </a:lnTo>
                  <a:lnTo>
                    <a:pt x="28" y="599"/>
                  </a:lnTo>
                  <a:lnTo>
                    <a:pt x="18" y="568"/>
                  </a:lnTo>
                  <a:lnTo>
                    <a:pt x="7" y="536"/>
                  </a:lnTo>
                  <a:lnTo>
                    <a:pt x="0" y="501"/>
                  </a:lnTo>
                  <a:lnTo>
                    <a:pt x="0" y="459"/>
                  </a:lnTo>
                  <a:lnTo>
                    <a:pt x="0" y="424"/>
                  </a:lnTo>
                  <a:lnTo>
                    <a:pt x="11" y="389"/>
                  </a:lnTo>
                  <a:lnTo>
                    <a:pt x="28" y="354"/>
                  </a:lnTo>
                  <a:lnTo>
                    <a:pt x="35" y="340"/>
                  </a:lnTo>
                  <a:lnTo>
                    <a:pt x="39" y="322"/>
                  </a:lnTo>
                  <a:lnTo>
                    <a:pt x="42" y="287"/>
                  </a:lnTo>
                  <a:lnTo>
                    <a:pt x="46" y="252"/>
                  </a:lnTo>
                  <a:lnTo>
                    <a:pt x="49" y="238"/>
                  </a:lnTo>
                  <a:lnTo>
                    <a:pt x="60" y="221"/>
                  </a:lnTo>
                  <a:lnTo>
                    <a:pt x="88" y="193"/>
                  </a:lnTo>
                  <a:lnTo>
                    <a:pt x="119" y="161"/>
                  </a:lnTo>
                  <a:lnTo>
                    <a:pt x="130" y="147"/>
                  </a:lnTo>
                  <a:lnTo>
                    <a:pt x="140" y="130"/>
                  </a:lnTo>
                  <a:lnTo>
                    <a:pt x="147" y="112"/>
                  </a:lnTo>
                  <a:lnTo>
                    <a:pt x="154" y="105"/>
                  </a:lnTo>
                  <a:lnTo>
                    <a:pt x="161" y="98"/>
                  </a:lnTo>
                  <a:lnTo>
                    <a:pt x="203" y="70"/>
                  </a:lnTo>
                  <a:lnTo>
                    <a:pt x="249" y="46"/>
                  </a:lnTo>
                  <a:lnTo>
                    <a:pt x="294" y="25"/>
                  </a:lnTo>
                  <a:lnTo>
                    <a:pt x="319" y="18"/>
                  </a:lnTo>
                  <a:lnTo>
                    <a:pt x="340" y="14"/>
                  </a:lnTo>
                  <a:lnTo>
                    <a:pt x="368" y="11"/>
                  </a:lnTo>
                  <a:lnTo>
                    <a:pt x="396" y="7"/>
                  </a:lnTo>
                  <a:lnTo>
                    <a:pt x="420" y="0"/>
                  </a:lnTo>
                  <a:lnTo>
                    <a:pt x="434" y="0"/>
                  </a:lnTo>
                  <a:lnTo>
                    <a:pt x="445" y="0"/>
                  </a:lnTo>
                  <a:lnTo>
                    <a:pt x="470" y="7"/>
                  </a:lnTo>
                  <a:lnTo>
                    <a:pt x="480" y="11"/>
                  </a:lnTo>
                  <a:lnTo>
                    <a:pt x="494" y="11"/>
                  </a:lnTo>
                  <a:lnTo>
                    <a:pt x="540" y="11"/>
                  </a:lnTo>
                  <a:lnTo>
                    <a:pt x="596" y="7"/>
                  </a:lnTo>
                  <a:close/>
                </a:path>
              </a:pathLst>
            </a:custGeom>
            <a:gradFill rotWithShape="1">
              <a:gsLst>
                <a:gs pos="0">
                  <a:srgbClr val="731D43"/>
                </a:gs>
                <a:gs pos="50000">
                  <a:srgbClr val="F83F91"/>
                </a:gs>
                <a:gs pos="100000">
                  <a:srgbClr val="731D43"/>
                </a:gs>
              </a:gsLst>
              <a:lin ang="18900000" scaled="1"/>
            </a:gradFill>
            <a:ln w="0">
              <a:solidFill>
                <a:srgbClr val="8000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3" name="Freeform 1692"/>
            <p:cNvSpPr>
              <a:spLocks/>
            </p:cNvSpPr>
            <p:nvPr/>
          </p:nvSpPr>
          <p:spPr bwMode="auto">
            <a:xfrm>
              <a:off x="3136" y="2016"/>
              <a:ext cx="642" cy="653"/>
            </a:xfrm>
            <a:custGeom>
              <a:avLst/>
              <a:gdLst>
                <a:gd name="T0" fmla="*/ 8 w 683"/>
                <a:gd name="T1" fmla="*/ 5 h 718"/>
                <a:gd name="T2" fmla="*/ 8 w 683"/>
                <a:gd name="T3" fmla="*/ 5 h 718"/>
                <a:gd name="T4" fmla="*/ 8 w 683"/>
                <a:gd name="T5" fmla="*/ 5 h 718"/>
                <a:gd name="T6" fmla="*/ 8 w 683"/>
                <a:gd name="T7" fmla="*/ 5 h 718"/>
                <a:gd name="T8" fmla="*/ 8 w 683"/>
                <a:gd name="T9" fmla="*/ 5 h 718"/>
                <a:gd name="T10" fmla="*/ 8 w 683"/>
                <a:gd name="T11" fmla="*/ 5 h 718"/>
                <a:gd name="T12" fmla="*/ 8 w 683"/>
                <a:gd name="T13" fmla="*/ 5 h 718"/>
                <a:gd name="T14" fmla="*/ 8 w 683"/>
                <a:gd name="T15" fmla="*/ 5 h 718"/>
                <a:gd name="T16" fmla="*/ 8 w 683"/>
                <a:gd name="T17" fmla="*/ 5 h 718"/>
                <a:gd name="T18" fmla="*/ 8 w 683"/>
                <a:gd name="T19" fmla="*/ 5 h 718"/>
                <a:gd name="T20" fmla="*/ 8 w 683"/>
                <a:gd name="T21" fmla="*/ 5 h 718"/>
                <a:gd name="T22" fmla="*/ 8 w 683"/>
                <a:gd name="T23" fmla="*/ 5 h 718"/>
                <a:gd name="T24" fmla="*/ 8 w 683"/>
                <a:gd name="T25" fmla="*/ 5 h 718"/>
                <a:gd name="T26" fmla="*/ 8 w 683"/>
                <a:gd name="T27" fmla="*/ 5 h 718"/>
                <a:gd name="T28" fmla="*/ 8 w 683"/>
                <a:gd name="T29" fmla="*/ 5 h 718"/>
                <a:gd name="T30" fmla="*/ 8 w 683"/>
                <a:gd name="T31" fmla="*/ 5 h 718"/>
                <a:gd name="T32" fmla="*/ 8 w 683"/>
                <a:gd name="T33" fmla="*/ 5 h 718"/>
                <a:gd name="T34" fmla="*/ 8 w 683"/>
                <a:gd name="T35" fmla="*/ 5 h 718"/>
                <a:gd name="T36" fmla="*/ 8 w 683"/>
                <a:gd name="T37" fmla="*/ 5 h 718"/>
                <a:gd name="T38" fmla="*/ 8 w 683"/>
                <a:gd name="T39" fmla="*/ 5 h 718"/>
                <a:gd name="T40" fmla="*/ 8 w 683"/>
                <a:gd name="T41" fmla="*/ 5 h 718"/>
                <a:gd name="T42" fmla="*/ 8 w 683"/>
                <a:gd name="T43" fmla="*/ 5 h 718"/>
                <a:gd name="T44" fmla="*/ 8 w 683"/>
                <a:gd name="T45" fmla="*/ 5 h 718"/>
                <a:gd name="T46" fmla="*/ 8 w 683"/>
                <a:gd name="T47" fmla="*/ 5 h 718"/>
                <a:gd name="T48" fmla="*/ 8 w 683"/>
                <a:gd name="T49" fmla="*/ 5 h 718"/>
                <a:gd name="T50" fmla="*/ 8 w 683"/>
                <a:gd name="T51" fmla="*/ 5 h 718"/>
                <a:gd name="T52" fmla="*/ 8 w 683"/>
                <a:gd name="T53" fmla="*/ 5 h 718"/>
                <a:gd name="T54" fmla="*/ 8 w 683"/>
                <a:gd name="T55" fmla="*/ 5 h 718"/>
                <a:gd name="T56" fmla="*/ 8 w 683"/>
                <a:gd name="T57" fmla="*/ 5 h 718"/>
                <a:gd name="T58" fmla="*/ 8 w 683"/>
                <a:gd name="T59" fmla="*/ 5 h 718"/>
                <a:gd name="T60" fmla="*/ 7 w 683"/>
                <a:gd name="T61" fmla="*/ 5 h 718"/>
                <a:gd name="T62" fmla="*/ 3 w 683"/>
                <a:gd name="T63" fmla="*/ 5 h 718"/>
                <a:gd name="T64" fmla="*/ 3 w 683"/>
                <a:gd name="T65" fmla="*/ 5 h 718"/>
                <a:gd name="T66" fmla="*/ 8 w 683"/>
                <a:gd name="T67" fmla="*/ 5 h 718"/>
                <a:gd name="T68" fmla="*/ 8 w 683"/>
                <a:gd name="T69" fmla="*/ 5 h 718"/>
                <a:gd name="T70" fmla="*/ 8 w 683"/>
                <a:gd name="T71" fmla="*/ 5 h 718"/>
                <a:gd name="T72" fmla="*/ 8 w 683"/>
                <a:gd name="T73" fmla="*/ 5 h 718"/>
                <a:gd name="T74" fmla="*/ 8 w 683"/>
                <a:gd name="T75" fmla="*/ 5 h 718"/>
                <a:gd name="T76" fmla="*/ 8 w 683"/>
                <a:gd name="T77" fmla="*/ 5 h 718"/>
                <a:gd name="T78" fmla="*/ 8 w 683"/>
                <a:gd name="T79" fmla="*/ 5 h 718"/>
                <a:gd name="T80" fmla="*/ 8 w 683"/>
                <a:gd name="T81" fmla="*/ 5 h 718"/>
                <a:gd name="T82" fmla="*/ 8 w 683"/>
                <a:gd name="T83" fmla="*/ 5 h 718"/>
                <a:gd name="T84" fmla="*/ 8 w 683"/>
                <a:gd name="T85" fmla="*/ 5 h 718"/>
                <a:gd name="T86" fmla="*/ 8 w 683"/>
                <a:gd name="T87" fmla="*/ 5 h 718"/>
                <a:gd name="T88" fmla="*/ 8 w 683"/>
                <a:gd name="T89" fmla="*/ 5 h 718"/>
                <a:gd name="T90" fmla="*/ 8 w 683"/>
                <a:gd name="T91" fmla="*/ 4 h 718"/>
                <a:gd name="T92" fmla="*/ 8 w 683"/>
                <a:gd name="T93" fmla="*/ 0 h 718"/>
                <a:gd name="T94" fmla="*/ 8 w 683"/>
                <a:gd name="T95" fmla="*/ 4 h 718"/>
                <a:gd name="T96" fmla="*/ 8 w 683"/>
                <a:gd name="T97" fmla="*/ 5 h 718"/>
                <a:gd name="T98" fmla="*/ 8 w 683"/>
                <a:gd name="T99" fmla="*/ 5 h 718"/>
                <a:gd name="T100" fmla="*/ 8 w 683"/>
                <a:gd name="T101" fmla="*/ 5 h 718"/>
                <a:gd name="T102" fmla="*/ 8 w 683"/>
                <a:gd name="T103" fmla="*/ 5 h 7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83"/>
                <a:gd name="T157" fmla="*/ 0 h 718"/>
                <a:gd name="T158" fmla="*/ 683 w 683"/>
                <a:gd name="T159" fmla="*/ 718 h 7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83" h="718">
                  <a:moveTo>
                    <a:pt x="462" y="25"/>
                  </a:moveTo>
                  <a:lnTo>
                    <a:pt x="462" y="25"/>
                  </a:lnTo>
                  <a:lnTo>
                    <a:pt x="483" y="28"/>
                  </a:lnTo>
                  <a:lnTo>
                    <a:pt x="501" y="32"/>
                  </a:lnTo>
                  <a:lnTo>
                    <a:pt x="515" y="35"/>
                  </a:lnTo>
                  <a:lnTo>
                    <a:pt x="525" y="42"/>
                  </a:lnTo>
                  <a:lnTo>
                    <a:pt x="546" y="56"/>
                  </a:lnTo>
                  <a:lnTo>
                    <a:pt x="560" y="67"/>
                  </a:lnTo>
                  <a:lnTo>
                    <a:pt x="578" y="81"/>
                  </a:lnTo>
                  <a:lnTo>
                    <a:pt x="599" y="102"/>
                  </a:lnTo>
                  <a:lnTo>
                    <a:pt x="620" y="123"/>
                  </a:lnTo>
                  <a:lnTo>
                    <a:pt x="627" y="133"/>
                  </a:lnTo>
                  <a:lnTo>
                    <a:pt x="634" y="144"/>
                  </a:lnTo>
                  <a:lnTo>
                    <a:pt x="651" y="186"/>
                  </a:lnTo>
                  <a:lnTo>
                    <a:pt x="662" y="224"/>
                  </a:lnTo>
                  <a:lnTo>
                    <a:pt x="676" y="308"/>
                  </a:lnTo>
                  <a:lnTo>
                    <a:pt x="679" y="340"/>
                  </a:lnTo>
                  <a:lnTo>
                    <a:pt x="683" y="375"/>
                  </a:lnTo>
                  <a:lnTo>
                    <a:pt x="679" y="442"/>
                  </a:lnTo>
                  <a:lnTo>
                    <a:pt x="676" y="470"/>
                  </a:lnTo>
                  <a:lnTo>
                    <a:pt x="672" y="501"/>
                  </a:lnTo>
                  <a:lnTo>
                    <a:pt x="665" y="529"/>
                  </a:lnTo>
                  <a:lnTo>
                    <a:pt x="658" y="543"/>
                  </a:lnTo>
                  <a:lnTo>
                    <a:pt x="651" y="554"/>
                  </a:lnTo>
                  <a:lnTo>
                    <a:pt x="630" y="578"/>
                  </a:lnTo>
                  <a:lnTo>
                    <a:pt x="609" y="596"/>
                  </a:lnTo>
                  <a:lnTo>
                    <a:pt x="564" y="631"/>
                  </a:lnTo>
                  <a:lnTo>
                    <a:pt x="532" y="652"/>
                  </a:lnTo>
                  <a:lnTo>
                    <a:pt x="497" y="666"/>
                  </a:lnTo>
                  <a:lnTo>
                    <a:pt x="466" y="683"/>
                  </a:lnTo>
                  <a:lnTo>
                    <a:pt x="434" y="697"/>
                  </a:lnTo>
                  <a:lnTo>
                    <a:pt x="399" y="711"/>
                  </a:lnTo>
                  <a:lnTo>
                    <a:pt x="368" y="718"/>
                  </a:lnTo>
                  <a:lnTo>
                    <a:pt x="339" y="718"/>
                  </a:lnTo>
                  <a:lnTo>
                    <a:pt x="308" y="718"/>
                  </a:lnTo>
                  <a:lnTo>
                    <a:pt x="241" y="718"/>
                  </a:lnTo>
                  <a:lnTo>
                    <a:pt x="224" y="718"/>
                  </a:lnTo>
                  <a:lnTo>
                    <a:pt x="210" y="711"/>
                  </a:lnTo>
                  <a:lnTo>
                    <a:pt x="182" y="690"/>
                  </a:lnTo>
                  <a:lnTo>
                    <a:pt x="133" y="648"/>
                  </a:lnTo>
                  <a:lnTo>
                    <a:pt x="84" y="610"/>
                  </a:lnTo>
                  <a:lnTo>
                    <a:pt x="70" y="596"/>
                  </a:lnTo>
                  <a:lnTo>
                    <a:pt x="59" y="585"/>
                  </a:lnTo>
                  <a:lnTo>
                    <a:pt x="42" y="557"/>
                  </a:lnTo>
                  <a:lnTo>
                    <a:pt x="31" y="526"/>
                  </a:lnTo>
                  <a:lnTo>
                    <a:pt x="21" y="494"/>
                  </a:lnTo>
                  <a:lnTo>
                    <a:pt x="10" y="442"/>
                  </a:lnTo>
                  <a:lnTo>
                    <a:pt x="7" y="417"/>
                  </a:lnTo>
                  <a:lnTo>
                    <a:pt x="3" y="393"/>
                  </a:lnTo>
                  <a:lnTo>
                    <a:pt x="0" y="329"/>
                  </a:lnTo>
                  <a:lnTo>
                    <a:pt x="3" y="301"/>
                  </a:lnTo>
                  <a:lnTo>
                    <a:pt x="7" y="284"/>
                  </a:lnTo>
                  <a:lnTo>
                    <a:pt x="14" y="270"/>
                  </a:lnTo>
                  <a:lnTo>
                    <a:pt x="35" y="228"/>
                  </a:lnTo>
                  <a:lnTo>
                    <a:pt x="45" y="210"/>
                  </a:lnTo>
                  <a:lnTo>
                    <a:pt x="59" y="189"/>
                  </a:lnTo>
                  <a:lnTo>
                    <a:pt x="70" y="172"/>
                  </a:lnTo>
                  <a:lnTo>
                    <a:pt x="73" y="151"/>
                  </a:lnTo>
                  <a:lnTo>
                    <a:pt x="77" y="133"/>
                  </a:lnTo>
                  <a:lnTo>
                    <a:pt x="80" y="123"/>
                  </a:lnTo>
                  <a:lnTo>
                    <a:pt x="87" y="116"/>
                  </a:lnTo>
                  <a:lnTo>
                    <a:pt x="98" y="102"/>
                  </a:lnTo>
                  <a:lnTo>
                    <a:pt x="105" y="88"/>
                  </a:lnTo>
                  <a:lnTo>
                    <a:pt x="112" y="77"/>
                  </a:lnTo>
                  <a:lnTo>
                    <a:pt x="122" y="63"/>
                  </a:lnTo>
                  <a:lnTo>
                    <a:pt x="154" y="49"/>
                  </a:lnTo>
                  <a:lnTo>
                    <a:pt x="189" y="35"/>
                  </a:lnTo>
                  <a:lnTo>
                    <a:pt x="227" y="28"/>
                  </a:lnTo>
                  <a:lnTo>
                    <a:pt x="262" y="25"/>
                  </a:lnTo>
                  <a:lnTo>
                    <a:pt x="276" y="18"/>
                  </a:lnTo>
                  <a:lnTo>
                    <a:pt x="287" y="11"/>
                  </a:lnTo>
                  <a:lnTo>
                    <a:pt x="297" y="4"/>
                  </a:lnTo>
                  <a:lnTo>
                    <a:pt x="308" y="0"/>
                  </a:lnTo>
                  <a:lnTo>
                    <a:pt x="329" y="0"/>
                  </a:lnTo>
                  <a:lnTo>
                    <a:pt x="350" y="4"/>
                  </a:lnTo>
                  <a:lnTo>
                    <a:pt x="364" y="7"/>
                  </a:lnTo>
                  <a:lnTo>
                    <a:pt x="385" y="11"/>
                  </a:lnTo>
                  <a:lnTo>
                    <a:pt x="392" y="11"/>
                  </a:lnTo>
                  <a:lnTo>
                    <a:pt x="399" y="18"/>
                  </a:lnTo>
                  <a:lnTo>
                    <a:pt x="406" y="21"/>
                  </a:lnTo>
                  <a:lnTo>
                    <a:pt x="413" y="21"/>
                  </a:lnTo>
                  <a:lnTo>
                    <a:pt x="462" y="25"/>
                  </a:lnTo>
                  <a:close/>
                </a:path>
              </a:pathLst>
            </a:custGeom>
            <a:pattFill prst="trellis">
              <a:fgClr>
                <a:srgbClr val="F47DD0"/>
              </a:fgClr>
              <a:bgClr>
                <a:srgbClr val="EF47BB"/>
              </a:bgClr>
            </a:pattFill>
            <a:ln w="9525">
              <a:solidFill>
                <a:srgbClr val="A2005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4" name="Freeform 1693"/>
            <p:cNvSpPr>
              <a:spLocks/>
            </p:cNvSpPr>
            <p:nvPr/>
          </p:nvSpPr>
          <p:spPr bwMode="auto">
            <a:xfrm>
              <a:off x="3225" y="2071"/>
              <a:ext cx="477" cy="525"/>
            </a:xfrm>
            <a:custGeom>
              <a:avLst/>
              <a:gdLst>
                <a:gd name="T0" fmla="*/ 8 w 508"/>
                <a:gd name="T1" fmla="*/ 5 h 578"/>
                <a:gd name="T2" fmla="*/ 8 w 508"/>
                <a:gd name="T3" fmla="*/ 5 h 578"/>
                <a:gd name="T4" fmla="*/ 8 w 508"/>
                <a:gd name="T5" fmla="*/ 5 h 578"/>
                <a:gd name="T6" fmla="*/ 8 w 508"/>
                <a:gd name="T7" fmla="*/ 0 h 578"/>
                <a:gd name="T8" fmla="*/ 8 w 508"/>
                <a:gd name="T9" fmla="*/ 5 h 578"/>
                <a:gd name="T10" fmla="*/ 8 w 508"/>
                <a:gd name="T11" fmla="*/ 5 h 578"/>
                <a:gd name="T12" fmla="*/ 8 w 508"/>
                <a:gd name="T13" fmla="*/ 5 h 578"/>
                <a:gd name="T14" fmla="*/ 8 w 508"/>
                <a:gd name="T15" fmla="*/ 5 h 578"/>
                <a:gd name="T16" fmla="*/ 8 w 508"/>
                <a:gd name="T17" fmla="*/ 5 h 578"/>
                <a:gd name="T18" fmla="*/ 8 w 508"/>
                <a:gd name="T19" fmla="*/ 5 h 578"/>
                <a:gd name="T20" fmla="*/ 8 w 508"/>
                <a:gd name="T21" fmla="*/ 5 h 578"/>
                <a:gd name="T22" fmla="*/ 8 w 508"/>
                <a:gd name="T23" fmla="*/ 5 h 578"/>
                <a:gd name="T24" fmla="*/ 8 w 508"/>
                <a:gd name="T25" fmla="*/ 5 h 578"/>
                <a:gd name="T26" fmla="*/ 8 w 508"/>
                <a:gd name="T27" fmla="*/ 5 h 578"/>
                <a:gd name="T28" fmla="*/ 8 w 508"/>
                <a:gd name="T29" fmla="*/ 5 h 578"/>
                <a:gd name="T30" fmla="*/ 8 w 508"/>
                <a:gd name="T31" fmla="*/ 5 h 578"/>
                <a:gd name="T32" fmla="*/ 8 w 508"/>
                <a:gd name="T33" fmla="*/ 5 h 578"/>
                <a:gd name="T34" fmla="*/ 8 w 508"/>
                <a:gd name="T35" fmla="*/ 5 h 578"/>
                <a:gd name="T36" fmla="*/ 8 w 508"/>
                <a:gd name="T37" fmla="*/ 5 h 578"/>
                <a:gd name="T38" fmla="*/ 8 w 508"/>
                <a:gd name="T39" fmla="*/ 5 h 578"/>
                <a:gd name="T40" fmla="*/ 8 w 508"/>
                <a:gd name="T41" fmla="*/ 5 h 578"/>
                <a:gd name="T42" fmla="*/ 8 w 508"/>
                <a:gd name="T43" fmla="*/ 5 h 578"/>
                <a:gd name="T44" fmla="*/ 8 w 508"/>
                <a:gd name="T45" fmla="*/ 5 h 578"/>
                <a:gd name="T46" fmla="*/ 8 w 508"/>
                <a:gd name="T47" fmla="*/ 5 h 578"/>
                <a:gd name="T48" fmla="*/ 8 w 508"/>
                <a:gd name="T49" fmla="*/ 5 h 578"/>
                <a:gd name="T50" fmla="*/ 8 w 508"/>
                <a:gd name="T51" fmla="*/ 5 h 578"/>
                <a:gd name="T52" fmla="*/ 8 w 508"/>
                <a:gd name="T53" fmla="*/ 5 h 578"/>
                <a:gd name="T54" fmla="*/ 8 w 508"/>
                <a:gd name="T55" fmla="*/ 5 h 578"/>
                <a:gd name="T56" fmla="*/ 8 w 508"/>
                <a:gd name="T57" fmla="*/ 5 h 578"/>
                <a:gd name="T58" fmla="*/ 8 w 508"/>
                <a:gd name="T59" fmla="*/ 5 h 578"/>
                <a:gd name="T60" fmla="*/ 8 w 508"/>
                <a:gd name="T61" fmla="*/ 5 h 578"/>
                <a:gd name="T62" fmla="*/ 8 w 508"/>
                <a:gd name="T63" fmla="*/ 5 h 578"/>
                <a:gd name="T64" fmla="*/ 8 w 508"/>
                <a:gd name="T65" fmla="*/ 5 h 578"/>
                <a:gd name="T66" fmla="*/ 8 w 508"/>
                <a:gd name="T67" fmla="*/ 5 h 578"/>
                <a:gd name="T68" fmla="*/ 8 w 508"/>
                <a:gd name="T69" fmla="*/ 5 h 578"/>
                <a:gd name="T70" fmla="*/ 0 w 508"/>
                <a:gd name="T71" fmla="*/ 5 h 578"/>
                <a:gd name="T72" fmla="*/ 4 w 508"/>
                <a:gd name="T73" fmla="*/ 5 h 578"/>
                <a:gd name="T74" fmla="*/ 8 w 508"/>
                <a:gd name="T75" fmla="*/ 5 h 578"/>
                <a:gd name="T76" fmla="*/ 8 w 508"/>
                <a:gd name="T77" fmla="*/ 5 h 578"/>
                <a:gd name="T78" fmla="*/ 8 w 508"/>
                <a:gd name="T79" fmla="*/ 5 h 578"/>
                <a:gd name="T80" fmla="*/ 8 w 508"/>
                <a:gd name="T81" fmla="*/ 5 h 578"/>
                <a:gd name="T82" fmla="*/ 8 w 508"/>
                <a:gd name="T83" fmla="*/ 5 h 578"/>
                <a:gd name="T84" fmla="*/ 8 w 508"/>
                <a:gd name="T85" fmla="*/ 5 h 578"/>
                <a:gd name="T86" fmla="*/ 8 w 508"/>
                <a:gd name="T87" fmla="*/ 5 h 578"/>
                <a:gd name="T88" fmla="*/ 8 w 508"/>
                <a:gd name="T89" fmla="*/ 5 h 578"/>
                <a:gd name="T90" fmla="*/ 8 w 508"/>
                <a:gd name="T91" fmla="*/ 5 h 57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08"/>
                <a:gd name="T139" fmla="*/ 0 h 578"/>
                <a:gd name="T140" fmla="*/ 508 w 508"/>
                <a:gd name="T141" fmla="*/ 578 h 57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08" h="578">
                  <a:moveTo>
                    <a:pt x="242" y="101"/>
                  </a:moveTo>
                  <a:lnTo>
                    <a:pt x="242" y="101"/>
                  </a:lnTo>
                  <a:lnTo>
                    <a:pt x="245" y="84"/>
                  </a:lnTo>
                  <a:lnTo>
                    <a:pt x="256" y="66"/>
                  </a:lnTo>
                  <a:lnTo>
                    <a:pt x="263" y="49"/>
                  </a:lnTo>
                  <a:lnTo>
                    <a:pt x="277" y="31"/>
                  </a:lnTo>
                  <a:lnTo>
                    <a:pt x="291" y="14"/>
                  </a:lnTo>
                  <a:lnTo>
                    <a:pt x="312" y="3"/>
                  </a:lnTo>
                  <a:lnTo>
                    <a:pt x="330" y="0"/>
                  </a:lnTo>
                  <a:lnTo>
                    <a:pt x="354" y="0"/>
                  </a:lnTo>
                  <a:lnTo>
                    <a:pt x="379" y="7"/>
                  </a:lnTo>
                  <a:lnTo>
                    <a:pt x="396" y="17"/>
                  </a:lnTo>
                  <a:lnTo>
                    <a:pt x="407" y="35"/>
                  </a:lnTo>
                  <a:lnTo>
                    <a:pt x="414" y="56"/>
                  </a:lnTo>
                  <a:lnTo>
                    <a:pt x="414" y="77"/>
                  </a:lnTo>
                  <a:lnTo>
                    <a:pt x="414" y="101"/>
                  </a:lnTo>
                  <a:lnTo>
                    <a:pt x="414" y="147"/>
                  </a:lnTo>
                  <a:lnTo>
                    <a:pt x="428" y="150"/>
                  </a:lnTo>
                  <a:lnTo>
                    <a:pt x="442" y="150"/>
                  </a:lnTo>
                  <a:lnTo>
                    <a:pt x="466" y="154"/>
                  </a:lnTo>
                  <a:lnTo>
                    <a:pt x="477" y="154"/>
                  </a:lnTo>
                  <a:lnTo>
                    <a:pt x="487" y="157"/>
                  </a:lnTo>
                  <a:lnTo>
                    <a:pt x="498" y="168"/>
                  </a:lnTo>
                  <a:lnTo>
                    <a:pt x="505" y="182"/>
                  </a:lnTo>
                  <a:lnTo>
                    <a:pt x="508" y="196"/>
                  </a:lnTo>
                  <a:lnTo>
                    <a:pt x="508" y="210"/>
                  </a:lnTo>
                  <a:lnTo>
                    <a:pt x="505" y="220"/>
                  </a:lnTo>
                  <a:lnTo>
                    <a:pt x="498" y="234"/>
                  </a:lnTo>
                  <a:lnTo>
                    <a:pt x="480" y="252"/>
                  </a:lnTo>
                  <a:lnTo>
                    <a:pt x="459" y="269"/>
                  </a:lnTo>
                  <a:lnTo>
                    <a:pt x="438" y="283"/>
                  </a:lnTo>
                  <a:lnTo>
                    <a:pt x="428" y="290"/>
                  </a:lnTo>
                  <a:lnTo>
                    <a:pt x="424" y="298"/>
                  </a:lnTo>
                  <a:lnTo>
                    <a:pt x="424" y="301"/>
                  </a:lnTo>
                  <a:lnTo>
                    <a:pt x="424" y="308"/>
                  </a:lnTo>
                  <a:lnTo>
                    <a:pt x="431" y="315"/>
                  </a:lnTo>
                  <a:lnTo>
                    <a:pt x="449" y="329"/>
                  </a:lnTo>
                  <a:lnTo>
                    <a:pt x="466" y="343"/>
                  </a:lnTo>
                  <a:lnTo>
                    <a:pt x="477" y="357"/>
                  </a:lnTo>
                  <a:lnTo>
                    <a:pt x="491" y="378"/>
                  </a:lnTo>
                  <a:lnTo>
                    <a:pt x="498" y="396"/>
                  </a:lnTo>
                  <a:lnTo>
                    <a:pt x="501" y="417"/>
                  </a:lnTo>
                  <a:lnTo>
                    <a:pt x="501" y="445"/>
                  </a:lnTo>
                  <a:lnTo>
                    <a:pt x="498" y="459"/>
                  </a:lnTo>
                  <a:lnTo>
                    <a:pt x="494" y="473"/>
                  </a:lnTo>
                  <a:lnTo>
                    <a:pt x="484" y="483"/>
                  </a:lnTo>
                  <a:lnTo>
                    <a:pt x="473" y="490"/>
                  </a:lnTo>
                  <a:lnTo>
                    <a:pt x="463" y="494"/>
                  </a:lnTo>
                  <a:lnTo>
                    <a:pt x="449" y="497"/>
                  </a:lnTo>
                  <a:lnTo>
                    <a:pt x="421" y="497"/>
                  </a:lnTo>
                  <a:lnTo>
                    <a:pt x="389" y="494"/>
                  </a:lnTo>
                  <a:lnTo>
                    <a:pt x="361" y="483"/>
                  </a:lnTo>
                  <a:lnTo>
                    <a:pt x="351" y="476"/>
                  </a:lnTo>
                  <a:lnTo>
                    <a:pt x="340" y="469"/>
                  </a:lnTo>
                  <a:lnTo>
                    <a:pt x="337" y="473"/>
                  </a:lnTo>
                  <a:lnTo>
                    <a:pt x="333" y="483"/>
                  </a:lnTo>
                  <a:lnTo>
                    <a:pt x="333" y="497"/>
                  </a:lnTo>
                  <a:lnTo>
                    <a:pt x="330" y="529"/>
                  </a:lnTo>
                  <a:lnTo>
                    <a:pt x="330" y="543"/>
                  </a:lnTo>
                  <a:lnTo>
                    <a:pt x="326" y="553"/>
                  </a:lnTo>
                  <a:lnTo>
                    <a:pt x="319" y="564"/>
                  </a:lnTo>
                  <a:lnTo>
                    <a:pt x="309" y="571"/>
                  </a:lnTo>
                  <a:lnTo>
                    <a:pt x="295" y="578"/>
                  </a:lnTo>
                  <a:lnTo>
                    <a:pt x="277" y="578"/>
                  </a:lnTo>
                  <a:lnTo>
                    <a:pt x="263" y="578"/>
                  </a:lnTo>
                  <a:lnTo>
                    <a:pt x="245" y="574"/>
                  </a:lnTo>
                  <a:lnTo>
                    <a:pt x="231" y="567"/>
                  </a:lnTo>
                  <a:lnTo>
                    <a:pt x="217" y="560"/>
                  </a:lnTo>
                  <a:lnTo>
                    <a:pt x="203" y="550"/>
                  </a:lnTo>
                  <a:lnTo>
                    <a:pt x="193" y="539"/>
                  </a:lnTo>
                  <a:lnTo>
                    <a:pt x="182" y="525"/>
                  </a:lnTo>
                  <a:lnTo>
                    <a:pt x="175" y="511"/>
                  </a:lnTo>
                  <a:lnTo>
                    <a:pt x="172" y="487"/>
                  </a:lnTo>
                  <a:lnTo>
                    <a:pt x="168" y="462"/>
                  </a:lnTo>
                  <a:lnTo>
                    <a:pt x="165" y="445"/>
                  </a:lnTo>
                  <a:lnTo>
                    <a:pt x="161" y="438"/>
                  </a:lnTo>
                  <a:lnTo>
                    <a:pt x="158" y="431"/>
                  </a:lnTo>
                  <a:lnTo>
                    <a:pt x="151" y="431"/>
                  </a:lnTo>
                  <a:lnTo>
                    <a:pt x="140" y="434"/>
                  </a:lnTo>
                  <a:lnTo>
                    <a:pt x="119" y="448"/>
                  </a:lnTo>
                  <a:lnTo>
                    <a:pt x="109" y="452"/>
                  </a:lnTo>
                  <a:lnTo>
                    <a:pt x="95" y="455"/>
                  </a:lnTo>
                  <a:lnTo>
                    <a:pt x="81" y="455"/>
                  </a:lnTo>
                  <a:lnTo>
                    <a:pt x="70" y="455"/>
                  </a:lnTo>
                  <a:lnTo>
                    <a:pt x="46" y="445"/>
                  </a:lnTo>
                  <a:lnTo>
                    <a:pt x="25" y="427"/>
                  </a:lnTo>
                  <a:lnTo>
                    <a:pt x="14" y="417"/>
                  </a:lnTo>
                  <a:lnTo>
                    <a:pt x="7" y="403"/>
                  </a:lnTo>
                  <a:lnTo>
                    <a:pt x="0" y="389"/>
                  </a:lnTo>
                  <a:lnTo>
                    <a:pt x="0" y="371"/>
                  </a:lnTo>
                  <a:lnTo>
                    <a:pt x="0" y="357"/>
                  </a:lnTo>
                  <a:lnTo>
                    <a:pt x="4" y="343"/>
                  </a:lnTo>
                  <a:lnTo>
                    <a:pt x="14" y="312"/>
                  </a:lnTo>
                  <a:lnTo>
                    <a:pt x="28" y="287"/>
                  </a:lnTo>
                  <a:lnTo>
                    <a:pt x="46" y="262"/>
                  </a:lnTo>
                  <a:lnTo>
                    <a:pt x="53" y="252"/>
                  </a:lnTo>
                  <a:lnTo>
                    <a:pt x="56" y="238"/>
                  </a:lnTo>
                  <a:lnTo>
                    <a:pt x="53" y="227"/>
                  </a:lnTo>
                  <a:lnTo>
                    <a:pt x="49" y="213"/>
                  </a:lnTo>
                  <a:lnTo>
                    <a:pt x="39" y="192"/>
                  </a:lnTo>
                  <a:lnTo>
                    <a:pt x="35" y="171"/>
                  </a:lnTo>
                  <a:lnTo>
                    <a:pt x="32" y="126"/>
                  </a:lnTo>
                  <a:lnTo>
                    <a:pt x="35" y="101"/>
                  </a:lnTo>
                  <a:lnTo>
                    <a:pt x="39" y="94"/>
                  </a:lnTo>
                  <a:lnTo>
                    <a:pt x="46" y="84"/>
                  </a:lnTo>
                  <a:lnTo>
                    <a:pt x="63" y="73"/>
                  </a:lnTo>
                  <a:lnTo>
                    <a:pt x="84" y="66"/>
                  </a:lnTo>
                  <a:lnTo>
                    <a:pt x="105" y="63"/>
                  </a:lnTo>
                  <a:lnTo>
                    <a:pt x="126" y="63"/>
                  </a:lnTo>
                  <a:lnTo>
                    <a:pt x="144" y="66"/>
                  </a:lnTo>
                  <a:lnTo>
                    <a:pt x="165" y="73"/>
                  </a:lnTo>
                  <a:lnTo>
                    <a:pt x="200" y="91"/>
                  </a:lnTo>
                  <a:lnTo>
                    <a:pt x="231" y="112"/>
                  </a:lnTo>
                  <a:lnTo>
                    <a:pt x="242" y="101"/>
                  </a:lnTo>
                  <a:close/>
                </a:path>
              </a:pathLst>
            </a:custGeom>
            <a:pattFill prst="weave">
              <a:fgClr>
                <a:srgbClr val="E8CDE3"/>
              </a:fgClr>
              <a:bgClr>
                <a:srgbClr val="DAAED2"/>
              </a:bgClr>
            </a:pattFill>
            <a:ln w="6350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5" name="Freeform 1694"/>
            <p:cNvSpPr>
              <a:spLocks/>
            </p:cNvSpPr>
            <p:nvPr/>
          </p:nvSpPr>
          <p:spPr bwMode="auto">
            <a:xfrm>
              <a:off x="3264" y="2103"/>
              <a:ext cx="405" cy="451"/>
            </a:xfrm>
            <a:custGeom>
              <a:avLst/>
              <a:gdLst>
                <a:gd name="T0" fmla="*/ 8 w 431"/>
                <a:gd name="T1" fmla="*/ 5 h 497"/>
                <a:gd name="T2" fmla="*/ 8 w 431"/>
                <a:gd name="T3" fmla="*/ 5 h 497"/>
                <a:gd name="T4" fmla="*/ 8 w 431"/>
                <a:gd name="T5" fmla="*/ 5 h 497"/>
                <a:gd name="T6" fmla="*/ 8 w 431"/>
                <a:gd name="T7" fmla="*/ 5 h 497"/>
                <a:gd name="T8" fmla="*/ 8 w 431"/>
                <a:gd name="T9" fmla="*/ 5 h 497"/>
                <a:gd name="T10" fmla="*/ 8 w 431"/>
                <a:gd name="T11" fmla="*/ 5 h 497"/>
                <a:gd name="T12" fmla="*/ 8 w 431"/>
                <a:gd name="T13" fmla="*/ 0 h 497"/>
                <a:gd name="T14" fmla="*/ 8 w 431"/>
                <a:gd name="T15" fmla="*/ 5 h 497"/>
                <a:gd name="T16" fmla="*/ 8 w 431"/>
                <a:gd name="T17" fmla="*/ 5 h 497"/>
                <a:gd name="T18" fmla="*/ 8 w 431"/>
                <a:gd name="T19" fmla="*/ 5 h 497"/>
                <a:gd name="T20" fmla="*/ 8 w 431"/>
                <a:gd name="T21" fmla="*/ 5 h 497"/>
                <a:gd name="T22" fmla="*/ 8 w 431"/>
                <a:gd name="T23" fmla="*/ 5 h 497"/>
                <a:gd name="T24" fmla="*/ 8 w 431"/>
                <a:gd name="T25" fmla="*/ 5 h 497"/>
                <a:gd name="T26" fmla="*/ 8 w 431"/>
                <a:gd name="T27" fmla="*/ 5 h 497"/>
                <a:gd name="T28" fmla="*/ 8 w 431"/>
                <a:gd name="T29" fmla="*/ 5 h 497"/>
                <a:gd name="T30" fmla="*/ 8 w 431"/>
                <a:gd name="T31" fmla="*/ 5 h 497"/>
                <a:gd name="T32" fmla="*/ 8 w 431"/>
                <a:gd name="T33" fmla="*/ 5 h 497"/>
                <a:gd name="T34" fmla="*/ 8 w 431"/>
                <a:gd name="T35" fmla="*/ 5 h 497"/>
                <a:gd name="T36" fmla="*/ 8 w 431"/>
                <a:gd name="T37" fmla="*/ 5 h 497"/>
                <a:gd name="T38" fmla="*/ 8 w 431"/>
                <a:gd name="T39" fmla="*/ 5 h 497"/>
                <a:gd name="T40" fmla="*/ 8 w 431"/>
                <a:gd name="T41" fmla="*/ 5 h 497"/>
                <a:gd name="T42" fmla="*/ 8 w 431"/>
                <a:gd name="T43" fmla="*/ 5 h 497"/>
                <a:gd name="T44" fmla="*/ 8 w 431"/>
                <a:gd name="T45" fmla="*/ 5 h 497"/>
                <a:gd name="T46" fmla="*/ 8 w 431"/>
                <a:gd name="T47" fmla="*/ 5 h 497"/>
                <a:gd name="T48" fmla="*/ 8 w 431"/>
                <a:gd name="T49" fmla="*/ 5 h 497"/>
                <a:gd name="T50" fmla="*/ 8 w 431"/>
                <a:gd name="T51" fmla="*/ 5 h 497"/>
                <a:gd name="T52" fmla="*/ 8 w 431"/>
                <a:gd name="T53" fmla="*/ 5 h 497"/>
                <a:gd name="T54" fmla="*/ 8 w 431"/>
                <a:gd name="T55" fmla="*/ 5 h 497"/>
                <a:gd name="T56" fmla="*/ 8 w 431"/>
                <a:gd name="T57" fmla="*/ 5 h 497"/>
                <a:gd name="T58" fmla="*/ 8 w 431"/>
                <a:gd name="T59" fmla="*/ 5 h 497"/>
                <a:gd name="T60" fmla="*/ 8 w 431"/>
                <a:gd name="T61" fmla="*/ 5 h 497"/>
                <a:gd name="T62" fmla="*/ 8 w 431"/>
                <a:gd name="T63" fmla="*/ 5 h 497"/>
                <a:gd name="T64" fmla="*/ 8 w 431"/>
                <a:gd name="T65" fmla="*/ 5 h 497"/>
                <a:gd name="T66" fmla="*/ 8 w 431"/>
                <a:gd name="T67" fmla="*/ 5 h 497"/>
                <a:gd name="T68" fmla="*/ 8 w 431"/>
                <a:gd name="T69" fmla="*/ 5 h 497"/>
                <a:gd name="T70" fmla="*/ 8 w 431"/>
                <a:gd name="T71" fmla="*/ 5 h 497"/>
                <a:gd name="T72" fmla="*/ 8 w 431"/>
                <a:gd name="T73" fmla="*/ 5 h 497"/>
                <a:gd name="T74" fmla="*/ 8 w 431"/>
                <a:gd name="T75" fmla="*/ 5 h 497"/>
                <a:gd name="T76" fmla="*/ 4 w 431"/>
                <a:gd name="T77" fmla="*/ 5 h 497"/>
                <a:gd name="T78" fmla="*/ 7 w 431"/>
                <a:gd name="T79" fmla="*/ 5 h 497"/>
                <a:gd name="T80" fmla="*/ 8 w 431"/>
                <a:gd name="T81" fmla="*/ 5 h 497"/>
                <a:gd name="T82" fmla="*/ 8 w 431"/>
                <a:gd name="T83" fmla="*/ 5 h 497"/>
                <a:gd name="T84" fmla="*/ 8 w 431"/>
                <a:gd name="T85" fmla="*/ 5 h 497"/>
                <a:gd name="T86" fmla="*/ 8 w 431"/>
                <a:gd name="T87" fmla="*/ 5 h 497"/>
                <a:gd name="T88" fmla="*/ 8 w 431"/>
                <a:gd name="T89" fmla="*/ 5 h 497"/>
                <a:gd name="T90" fmla="*/ 8 w 431"/>
                <a:gd name="T91" fmla="*/ 5 h 497"/>
                <a:gd name="T92" fmla="*/ 8 w 431"/>
                <a:gd name="T93" fmla="*/ 5 h 497"/>
                <a:gd name="T94" fmla="*/ 8 w 431"/>
                <a:gd name="T95" fmla="*/ 5 h 49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31"/>
                <a:gd name="T145" fmla="*/ 0 h 497"/>
                <a:gd name="T146" fmla="*/ 431 w 431"/>
                <a:gd name="T147" fmla="*/ 497 h 49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31" h="497">
                  <a:moveTo>
                    <a:pt x="151" y="91"/>
                  </a:moveTo>
                  <a:lnTo>
                    <a:pt x="151" y="91"/>
                  </a:lnTo>
                  <a:lnTo>
                    <a:pt x="158" y="94"/>
                  </a:lnTo>
                  <a:lnTo>
                    <a:pt x="165" y="105"/>
                  </a:lnTo>
                  <a:lnTo>
                    <a:pt x="182" y="122"/>
                  </a:lnTo>
                  <a:lnTo>
                    <a:pt x="189" y="129"/>
                  </a:lnTo>
                  <a:lnTo>
                    <a:pt x="200" y="133"/>
                  </a:lnTo>
                  <a:lnTo>
                    <a:pt x="203" y="129"/>
                  </a:lnTo>
                  <a:lnTo>
                    <a:pt x="211" y="119"/>
                  </a:lnTo>
                  <a:lnTo>
                    <a:pt x="214" y="87"/>
                  </a:lnTo>
                  <a:lnTo>
                    <a:pt x="218" y="77"/>
                  </a:lnTo>
                  <a:lnTo>
                    <a:pt x="225" y="63"/>
                  </a:lnTo>
                  <a:lnTo>
                    <a:pt x="242" y="35"/>
                  </a:lnTo>
                  <a:lnTo>
                    <a:pt x="253" y="24"/>
                  </a:lnTo>
                  <a:lnTo>
                    <a:pt x="263" y="14"/>
                  </a:lnTo>
                  <a:lnTo>
                    <a:pt x="274" y="7"/>
                  </a:lnTo>
                  <a:lnTo>
                    <a:pt x="288" y="3"/>
                  </a:lnTo>
                  <a:lnTo>
                    <a:pt x="302" y="0"/>
                  </a:lnTo>
                  <a:lnTo>
                    <a:pt x="316" y="0"/>
                  </a:lnTo>
                  <a:lnTo>
                    <a:pt x="326" y="3"/>
                  </a:lnTo>
                  <a:lnTo>
                    <a:pt x="337" y="10"/>
                  </a:lnTo>
                  <a:lnTo>
                    <a:pt x="344" y="21"/>
                  </a:lnTo>
                  <a:lnTo>
                    <a:pt x="347" y="35"/>
                  </a:lnTo>
                  <a:lnTo>
                    <a:pt x="347" y="59"/>
                  </a:lnTo>
                  <a:lnTo>
                    <a:pt x="340" y="87"/>
                  </a:lnTo>
                  <a:lnTo>
                    <a:pt x="340" y="115"/>
                  </a:lnTo>
                  <a:lnTo>
                    <a:pt x="340" y="129"/>
                  </a:lnTo>
                  <a:lnTo>
                    <a:pt x="347" y="136"/>
                  </a:lnTo>
                  <a:lnTo>
                    <a:pt x="358" y="140"/>
                  </a:lnTo>
                  <a:lnTo>
                    <a:pt x="368" y="140"/>
                  </a:lnTo>
                  <a:lnTo>
                    <a:pt x="382" y="140"/>
                  </a:lnTo>
                  <a:lnTo>
                    <a:pt x="396" y="140"/>
                  </a:lnTo>
                  <a:lnTo>
                    <a:pt x="410" y="143"/>
                  </a:lnTo>
                  <a:lnTo>
                    <a:pt x="421" y="154"/>
                  </a:lnTo>
                  <a:lnTo>
                    <a:pt x="428" y="164"/>
                  </a:lnTo>
                  <a:lnTo>
                    <a:pt x="431" y="175"/>
                  </a:lnTo>
                  <a:lnTo>
                    <a:pt x="428" y="192"/>
                  </a:lnTo>
                  <a:lnTo>
                    <a:pt x="421" y="203"/>
                  </a:lnTo>
                  <a:lnTo>
                    <a:pt x="407" y="213"/>
                  </a:lnTo>
                  <a:lnTo>
                    <a:pt x="393" y="220"/>
                  </a:lnTo>
                  <a:lnTo>
                    <a:pt x="379" y="224"/>
                  </a:lnTo>
                  <a:lnTo>
                    <a:pt x="368" y="231"/>
                  </a:lnTo>
                  <a:lnTo>
                    <a:pt x="361" y="238"/>
                  </a:lnTo>
                  <a:lnTo>
                    <a:pt x="358" y="252"/>
                  </a:lnTo>
                  <a:lnTo>
                    <a:pt x="358" y="266"/>
                  </a:lnTo>
                  <a:lnTo>
                    <a:pt x="365" y="280"/>
                  </a:lnTo>
                  <a:lnTo>
                    <a:pt x="379" y="305"/>
                  </a:lnTo>
                  <a:lnTo>
                    <a:pt x="396" y="329"/>
                  </a:lnTo>
                  <a:lnTo>
                    <a:pt x="403" y="343"/>
                  </a:lnTo>
                  <a:lnTo>
                    <a:pt x="410" y="357"/>
                  </a:lnTo>
                  <a:lnTo>
                    <a:pt x="410" y="371"/>
                  </a:lnTo>
                  <a:lnTo>
                    <a:pt x="414" y="382"/>
                  </a:lnTo>
                  <a:lnTo>
                    <a:pt x="421" y="399"/>
                  </a:lnTo>
                  <a:lnTo>
                    <a:pt x="424" y="410"/>
                  </a:lnTo>
                  <a:lnTo>
                    <a:pt x="421" y="417"/>
                  </a:lnTo>
                  <a:lnTo>
                    <a:pt x="421" y="420"/>
                  </a:lnTo>
                  <a:lnTo>
                    <a:pt x="414" y="424"/>
                  </a:lnTo>
                  <a:lnTo>
                    <a:pt x="400" y="427"/>
                  </a:lnTo>
                  <a:lnTo>
                    <a:pt x="386" y="424"/>
                  </a:lnTo>
                  <a:lnTo>
                    <a:pt x="372" y="420"/>
                  </a:lnTo>
                  <a:lnTo>
                    <a:pt x="340" y="406"/>
                  </a:lnTo>
                  <a:lnTo>
                    <a:pt x="312" y="389"/>
                  </a:lnTo>
                  <a:lnTo>
                    <a:pt x="288" y="375"/>
                  </a:lnTo>
                  <a:lnTo>
                    <a:pt x="274" y="368"/>
                  </a:lnTo>
                  <a:lnTo>
                    <a:pt x="263" y="364"/>
                  </a:lnTo>
                  <a:lnTo>
                    <a:pt x="256" y="371"/>
                  </a:lnTo>
                  <a:lnTo>
                    <a:pt x="249" y="382"/>
                  </a:lnTo>
                  <a:lnTo>
                    <a:pt x="249" y="410"/>
                  </a:lnTo>
                  <a:lnTo>
                    <a:pt x="249" y="445"/>
                  </a:lnTo>
                  <a:lnTo>
                    <a:pt x="249" y="459"/>
                  </a:lnTo>
                  <a:lnTo>
                    <a:pt x="246" y="469"/>
                  </a:lnTo>
                  <a:lnTo>
                    <a:pt x="239" y="483"/>
                  </a:lnTo>
                  <a:lnTo>
                    <a:pt x="228" y="494"/>
                  </a:lnTo>
                  <a:lnTo>
                    <a:pt x="214" y="497"/>
                  </a:lnTo>
                  <a:lnTo>
                    <a:pt x="203" y="497"/>
                  </a:lnTo>
                  <a:lnTo>
                    <a:pt x="196" y="494"/>
                  </a:lnTo>
                  <a:lnTo>
                    <a:pt x="186" y="490"/>
                  </a:lnTo>
                  <a:lnTo>
                    <a:pt x="179" y="480"/>
                  </a:lnTo>
                  <a:lnTo>
                    <a:pt x="161" y="455"/>
                  </a:lnTo>
                  <a:lnTo>
                    <a:pt x="158" y="431"/>
                  </a:lnTo>
                  <a:lnTo>
                    <a:pt x="158" y="396"/>
                  </a:lnTo>
                  <a:lnTo>
                    <a:pt x="154" y="378"/>
                  </a:lnTo>
                  <a:lnTo>
                    <a:pt x="151" y="364"/>
                  </a:lnTo>
                  <a:lnTo>
                    <a:pt x="140" y="354"/>
                  </a:lnTo>
                  <a:lnTo>
                    <a:pt x="137" y="354"/>
                  </a:lnTo>
                  <a:lnTo>
                    <a:pt x="130" y="354"/>
                  </a:lnTo>
                  <a:lnTo>
                    <a:pt x="119" y="357"/>
                  </a:lnTo>
                  <a:lnTo>
                    <a:pt x="112" y="368"/>
                  </a:lnTo>
                  <a:lnTo>
                    <a:pt x="102" y="378"/>
                  </a:lnTo>
                  <a:lnTo>
                    <a:pt x="88" y="385"/>
                  </a:lnTo>
                  <a:lnTo>
                    <a:pt x="74" y="385"/>
                  </a:lnTo>
                  <a:lnTo>
                    <a:pt x="56" y="378"/>
                  </a:lnTo>
                  <a:lnTo>
                    <a:pt x="39" y="371"/>
                  </a:lnTo>
                  <a:lnTo>
                    <a:pt x="28" y="361"/>
                  </a:lnTo>
                  <a:lnTo>
                    <a:pt x="18" y="354"/>
                  </a:lnTo>
                  <a:lnTo>
                    <a:pt x="7" y="343"/>
                  </a:lnTo>
                  <a:lnTo>
                    <a:pt x="4" y="329"/>
                  </a:lnTo>
                  <a:lnTo>
                    <a:pt x="0" y="315"/>
                  </a:lnTo>
                  <a:lnTo>
                    <a:pt x="7" y="301"/>
                  </a:lnTo>
                  <a:lnTo>
                    <a:pt x="18" y="287"/>
                  </a:lnTo>
                  <a:lnTo>
                    <a:pt x="39" y="259"/>
                  </a:lnTo>
                  <a:lnTo>
                    <a:pt x="46" y="245"/>
                  </a:lnTo>
                  <a:lnTo>
                    <a:pt x="53" y="234"/>
                  </a:lnTo>
                  <a:lnTo>
                    <a:pt x="56" y="220"/>
                  </a:lnTo>
                  <a:lnTo>
                    <a:pt x="60" y="206"/>
                  </a:lnTo>
                  <a:lnTo>
                    <a:pt x="60" y="192"/>
                  </a:lnTo>
                  <a:lnTo>
                    <a:pt x="56" y="178"/>
                  </a:lnTo>
                  <a:lnTo>
                    <a:pt x="46" y="150"/>
                  </a:lnTo>
                  <a:lnTo>
                    <a:pt x="28" y="126"/>
                  </a:lnTo>
                  <a:lnTo>
                    <a:pt x="25" y="112"/>
                  </a:lnTo>
                  <a:lnTo>
                    <a:pt x="28" y="94"/>
                  </a:lnTo>
                  <a:lnTo>
                    <a:pt x="35" y="80"/>
                  </a:lnTo>
                  <a:lnTo>
                    <a:pt x="53" y="66"/>
                  </a:lnTo>
                  <a:lnTo>
                    <a:pt x="70" y="59"/>
                  </a:lnTo>
                  <a:lnTo>
                    <a:pt x="88" y="59"/>
                  </a:lnTo>
                  <a:lnTo>
                    <a:pt x="102" y="59"/>
                  </a:lnTo>
                  <a:lnTo>
                    <a:pt x="112" y="63"/>
                  </a:lnTo>
                  <a:lnTo>
                    <a:pt x="151" y="91"/>
                  </a:lnTo>
                  <a:close/>
                </a:path>
              </a:pathLst>
            </a:custGeom>
            <a:pattFill prst="weave">
              <a:fgClr>
                <a:srgbClr val="DDAFC7"/>
              </a:fgClr>
              <a:bgClr>
                <a:srgbClr val="CC90C1"/>
              </a:bgClr>
            </a:pattFill>
            <a:ln w="6350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6" name="Freeform 1695"/>
            <p:cNvSpPr>
              <a:spLocks/>
            </p:cNvSpPr>
            <p:nvPr/>
          </p:nvSpPr>
          <p:spPr bwMode="auto">
            <a:xfrm>
              <a:off x="3301" y="2154"/>
              <a:ext cx="326" cy="334"/>
            </a:xfrm>
            <a:custGeom>
              <a:avLst/>
              <a:gdLst>
                <a:gd name="T0" fmla="*/ 8 w 347"/>
                <a:gd name="T1" fmla="*/ 5 h 368"/>
                <a:gd name="T2" fmla="*/ 8 w 347"/>
                <a:gd name="T3" fmla="*/ 5 h 368"/>
                <a:gd name="T4" fmla="*/ 8 w 347"/>
                <a:gd name="T5" fmla="*/ 5 h 368"/>
                <a:gd name="T6" fmla="*/ 8 w 347"/>
                <a:gd name="T7" fmla="*/ 5 h 368"/>
                <a:gd name="T8" fmla="*/ 8 w 347"/>
                <a:gd name="T9" fmla="*/ 5 h 368"/>
                <a:gd name="T10" fmla="*/ 8 w 347"/>
                <a:gd name="T11" fmla="*/ 5 h 368"/>
                <a:gd name="T12" fmla="*/ 8 w 347"/>
                <a:gd name="T13" fmla="*/ 5 h 368"/>
                <a:gd name="T14" fmla="*/ 8 w 347"/>
                <a:gd name="T15" fmla="*/ 5 h 368"/>
                <a:gd name="T16" fmla="*/ 8 w 347"/>
                <a:gd name="T17" fmla="*/ 5 h 368"/>
                <a:gd name="T18" fmla="*/ 8 w 347"/>
                <a:gd name="T19" fmla="*/ 5 h 368"/>
                <a:gd name="T20" fmla="*/ 8 w 347"/>
                <a:gd name="T21" fmla="*/ 0 h 368"/>
                <a:gd name="T22" fmla="*/ 8 w 347"/>
                <a:gd name="T23" fmla="*/ 5 h 368"/>
                <a:gd name="T24" fmla="*/ 8 w 347"/>
                <a:gd name="T25" fmla="*/ 5 h 368"/>
                <a:gd name="T26" fmla="*/ 8 w 347"/>
                <a:gd name="T27" fmla="*/ 5 h 368"/>
                <a:gd name="T28" fmla="*/ 8 w 347"/>
                <a:gd name="T29" fmla="*/ 5 h 368"/>
                <a:gd name="T30" fmla="*/ 8 w 347"/>
                <a:gd name="T31" fmla="*/ 5 h 368"/>
                <a:gd name="T32" fmla="*/ 8 w 347"/>
                <a:gd name="T33" fmla="*/ 5 h 368"/>
                <a:gd name="T34" fmla="*/ 8 w 347"/>
                <a:gd name="T35" fmla="*/ 5 h 368"/>
                <a:gd name="T36" fmla="*/ 8 w 347"/>
                <a:gd name="T37" fmla="*/ 5 h 368"/>
                <a:gd name="T38" fmla="*/ 8 w 347"/>
                <a:gd name="T39" fmla="*/ 5 h 368"/>
                <a:gd name="T40" fmla="*/ 8 w 347"/>
                <a:gd name="T41" fmla="*/ 5 h 368"/>
                <a:gd name="T42" fmla="*/ 8 w 347"/>
                <a:gd name="T43" fmla="*/ 5 h 368"/>
                <a:gd name="T44" fmla="*/ 8 w 347"/>
                <a:gd name="T45" fmla="*/ 5 h 368"/>
                <a:gd name="T46" fmla="*/ 8 w 347"/>
                <a:gd name="T47" fmla="*/ 5 h 368"/>
                <a:gd name="T48" fmla="*/ 8 w 347"/>
                <a:gd name="T49" fmla="*/ 5 h 368"/>
                <a:gd name="T50" fmla="*/ 8 w 347"/>
                <a:gd name="T51" fmla="*/ 5 h 368"/>
                <a:gd name="T52" fmla="*/ 8 w 347"/>
                <a:gd name="T53" fmla="*/ 5 h 368"/>
                <a:gd name="T54" fmla="*/ 8 w 347"/>
                <a:gd name="T55" fmla="*/ 5 h 368"/>
                <a:gd name="T56" fmla="*/ 8 w 347"/>
                <a:gd name="T57" fmla="*/ 5 h 368"/>
                <a:gd name="T58" fmla="*/ 8 w 347"/>
                <a:gd name="T59" fmla="*/ 5 h 368"/>
                <a:gd name="T60" fmla="*/ 8 w 347"/>
                <a:gd name="T61" fmla="*/ 5 h 368"/>
                <a:gd name="T62" fmla="*/ 8 w 347"/>
                <a:gd name="T63" fmla="*/ 5 h 368"/>
                <a:gd name="T64" fmla="*/ 8 w 347"/>
                <a:gd name="T65" fmla="*/ 5 h 368"/>
                <a:gd name="T66" fmla="*/ 8 w 347"/>
                <a:gd name="T67" fmla="*/ 5 h 368"/>
                <a:gd name="T68" fmla="*/ 8 w 347"/>
                <a:gd name="T69" fmla="*/ 5 h 368"/>
                <a:gd name="T70" fmla="*/ 8 w 347"/>
                <a:gd name="T71" fmla="*/ 5 h 368"/>
                <a:gd name="T72" fmla="*/ 8 w 347"/>
                <a:gd name="T73" fmla="*/ 5 h 368"/>
                <a:gd name="T74" fmla="*/ 8 w 347"/>
                <a:gd name="T75" fmla="*/ 5 h 368"/>
                <a:gd name="T76" fmla="*/ 8 w 347"/>
                <a:gd name="T77" fmla="*/ 5 h 368"/>
                <a:gd name="T78" fmla="*/ 8 w 347"/>
                <a:gd name="T79" fmla="*/ 5 h 368"/>
                <a:gd name="T80" fmla="*/ 8 w 347"/>
                <a:gd name="T81" fmla="*/ 5 h 368"/>
                <a:gd name="T82" fmla="*/ 8 w 347"/>
                <a:gd name="T83" fmla="*/ 5 h 368"/>
                <a:gd name="T84" fmla="*/ 8 w 347"/>
                <a:gd name="T85" fmla="*/ 5 h 368"/>
                <a:gd name="T86" fmla="*/ 8 w 347"/>
                <a:gd name="T87" fmla="*/ 5 h 368"/>
                <a:gd name="T88" fmla="*/ 8 w 347"/>
                <a:gd name="T89" fmla="*/ 5 h 368"/>
                <a:gd name="T90" fmla="*/ 7 w 347"/>
                <a:gd name="T91" fmla="*/ 5 h 368"/>
                <a:gd name="T92" fmla="*/ 0 w 347"/>
                <a:gd name="T93" fmla="*/ 5 h 368"/>
                <a:gd name="T94" fmla="*/ 7 w 347"/>
                <a:gd name="T95" fmla="*/ 5 h 368"/>
                <a:gd name="T96" fmla="*/ 8 w 347"/>
                <a:gd name="T97" fmla="*/ 5 h 368"/>
                <a:gd name="T98" fmla="*/ 8 w 347"/>
                <a:gd name="T99" fmla="*/ 5 h 368"/>
                <a:gd name="T100" fmla="*/ 8 w 347"/>
                <a:gd name="T101" fmla="*/ 5 h 368"/>
                <a:gd name="T102" fmla="*/ 8 w 347"/>
                <a:gd name="T103" fmla="*/ 5 h 368"/>
                <a:gd name="T104" fmla="*/ 8 w 347"/>
                <a:gd name="T105" fmla="*/ 5 h 368"/>
                <a:gd name="T106" fmla="*/ 8 w 347"/>
                <a:gd name="T107" fmla="*/ 5 h 368"/>
                <a:gd name="T108" fmla="*/ 8 w 347"/>
                <a:gd name="T109" fmla="*/ 5 h 36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47"/>
                <a:gd name="T166" fmla="*/ 0 h 368"/>
                <a:gd name="T167" fmla="*/ 347 w 347"/>
                <a:gd name="T168" fmla="*/ 368 h 36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47" h="368">
                  <a:moveTo>
                    <a:pt x="77" y="59"/>
                  </a:moveTo>
                  <a:lnTo>
                    <a:pt x="77" y="59"/>
                  </a:lnTo>
                  <a:lnTo>
                    <a:pt x="101" y="66"/>
                  </a:lnTo>
                  <a:lnTo>
                    <a:pt x="119" y="80"/>
                  </a:lnTo>
                  <a:lnTo>
                    <a:pt x="129" y="91"/>
                  </a:lnTo>
                  <a:lnTo>
                    <a:pt x="136" y="101"/>
                  </a:lnTo>
                  <a:lnTo>
                    <a:pt x="143" y="115"/>
                  </a:lnTo>
                  <a:lnTo>
                    <a:pt x="147" y="126"/>
                  </a:lnTo>
                  <a:lnTo>
                    <a:pt x="150" y="133"/>
                  </a:lnTo>
                  <a:lnTo>
                    <a:pt x="157" y="136"/>
                  </a:lnTo>
                  <a:lnTo>
                    <a:pt x="164" y="136"/>
                  </a:lnTo>
                  <a:lnTo>
                    <a:pt x="172" y="133"/>
                  </a:lnTo>
                  <a:lnTo>
                    <a:pt x="175" y="129"/>
                  </a:lnTo>
                  <a:lnTo>
                    <a:pt x="179" y="119"/>
                  </a:lnTo>
                  <a:lnTo>
                    <a:pt x="179" y="105"/>
                  </a:lnTo>
                  <a:lnTo>
                    <a:pt x="179" y="87"/>
                  </a:lnTo>
                  <a:lnTo>
                    <a:pt x="179" y="70"/>
                  </a:lnTo>
                  <a:lnTo>
                    <a:pt x="182" y="59"/>
                  </a:lnTo>
                  <a:lnTo>
                    <a:pt x="186" y="49"/>
                  </a:lnTo>
                  <a:lnTo>
                    <a:pt x="189" y="31"/>
                  </a:lnTo>
                  <a:lnTo>
                    <a:pt x="200" y="14"/>
                  </a:lnTo>
                  <a:lnTo>
                    <a:pt x="210" y="7"/>
                  </a:lnTo>
                  <a:lnTo>
                    <a:pt x="224" y="3"/>
                  </a:lnTo>
                  <a:lnTo>
                    <a:pt x="235" y="0"/>
                  </a:lnTo>
                  <a:lnTo>
                    <a:pt x="242" y="0"/>
                  </a:lnTo>
                  <a:lnTo>
                    <a:pt x="249" y="3"/>
                  </a:lnTo>
                  <a:lnTo>
                    <a:pt x="256" y="7"/>
                  </a:lnTo>
                  <a:lnTo>
                    <a:pt x="263" y="17"/>
                  </a:lnTo>
                  <a:lnTo>
                    <a:pt x="266" y="31"/>
                  </a:lnTo>
                  <a:lnTo>
                    <a:pt x="266" y="45"/>
                  </a:lnTo>
                  <a:lnTo>
                    <a:pt x="266" y="49"/>
                  </a:lnTo>
                  <a:lnTo>
                    <a:pt x="266" y="56"/>
                  </a:lnTo>
                  <a:lnTo>
                    <a:pt x="263" y="70"/>
                  </a:lnTo>
                  <a:lnTo>
                    <a:pt x="259" y="87"/>
                  </a:lnTo>
                  <a:lnTo>
                    <a:pt x="259" y="98"/>
                  </a:lnTo>
                  <a:lnTo>
                    <a:pt x="263" y="108"/>
                  </a:lnTo>
                  <a:lnTo>
                    <a:pt x="266" y="108"/>
                  </a:lnTo>
                  <a:lnTo>
                    <a:pt x="270" y="105"/>
                  </a:lnTo>
                  <a:lnTo>
                    <a:pt x="277" y="105"/>
                  </a:lnTo>
                  <a:lnTo>
                    <a:pt x="284" y="105"/>
                  </a:lnTo>
                  <a:lnTo>
                    <a:pt x="298" y="105"/>
                  </a:lnTo>
                  <a:lnTo>
                    <a:pt x="308" y="105"/>
                  </a:lnTo>
                  <a:lnTo>
                    <a:pt x="319" y="105"/>
                  </a:lnTo>
                  <a:lnTo>
                    <a:pt x="329" y="112"/>
                  </a:lnTo>
                  <a:lnTo>
                    <a:pt x="333" y="115"/>
                  </a:lnTo>
                  <a:lnTo>
                    <a:pt x="333" y="126"/>
                  </a:lnTo>
                  <a:lnTo>
                    <a:pt x="333" y="133"/>
                  </a:lnTo>
                  <a:lnTo>
                    <a:pt x="326" y="150"/>
                  </a:lnTo>
                  <a:lnTo>
                    <a:pt x="319" y="161"/>
                  </a:lnTo>
                  <a:lnTo>
                    <a:pt x="308" y="168"/>
                  </a:lnTo>
                  <a:lnTo>
                    <a:pt x="294" y="178"/>
                  </a:lnTo>
                  <a:lnTo>
                    <a:pt x="280" y="185"/>
                  </a:lnTo>
                  <a:lnTo>
                    <a:pt x="277" y="189"/>
                  </a:lnTo>
                  <a:lnTo>
                    <a:pt x="277" y="196"/>
                  </a:lnTo>
                  <a:lnTo>
                    <a:pt x="277" y="199"/>
                  </a:lnTo>
                  <a:lnTo>
                    <a:pt x="280" y="207"/>
                  </a:lnTo>
                  <a:lnTo>
                    <a:pt x="294" y="217"/>
                  </a:lnTo>
                  <a:lnTo>
                    <a:pt x="305" y="224"/>
                  </a:lnTo>
                  <a:lnTo>
                    <a:pt x="315" y="235"/>
                  </a:lnTo>
                  <a:lnTo>
                    <a:pt x="336" y="263"/>
                  </a:lnTo>
                  <a:lnTo>
                    <a:pt x="343" y="277"/>
                  </a:lnTo>
                  <a:lnTo>
                    <a:pt x="347" y="294"/>
                  </a:lnTo>
                  <a:lnTo>
                    <a:pt x="347" y="308"/>
                  </a:lnTo>
                  <a:lnTo>
                    <a:pt x="340" y="322"/>
                  </a:lnTo>
                  <a:lnTo>
                    <a:pt x="336" y="326"/>
                  </a:lnTo>
                  <a:lnTo>
                    <a:pt x="329" y="329"/>
                  </a:lnTo>
                  <a:lnTo>
                    <a:pt x="308" y="333"/>
                  </a:lnTo>
                  <a:lnTo>
                    <a:pt x="287" y="333"/>
                  </a:lnTo>
                  <a:lnTo>
                    <a:pt x="280" y="329"/>
                  </a:lnTo>
                  <a:lnTo>
                    <a:pt x="273" y="322"/>
                  </a:lnTo>
                  <a:lnTo>
                    <a:pt x="263" y="308"/>
                  </a:lnTo>
                  <a:lnTo>
                    <a:pt x="249" y="294"/>
                  </a:lnTo>
                  <a:lnTo>
                    <a:pt x="242" y="287"/>
                  </a:lnTo>
                  <a:lnTo>
                    <a:pt x="231" y="284"/>
                  </a:lnTo>
                  <a:lnTo>
                    <a:pt x="224" y="284"/>
                  </a:lnTo>
                  <a:lnTo>
                    <a:pt x="217" y="287"/>
                  </a:lnTo>
                  <a:lnTo>
                    <a:pt x="210" y="291"/>
                  </a:lnTo>
                  <a:lnTo>
                    <a:pt x="210" y="298"/>
                  </a:lnTo>
                  <a:lnTo>
                    <a:pt x="207" y="312"/>
                  </a:lnTo>
                  <a:lnTo>
                    <a:pt x="207" y="329"/>
                  </a:lnTo>
                  <a:lnTo>
                    <a:pt x="203" y="347"/>
                  </a:lnTo>
                  <a:lnTo>
                    <a:pt x="196" y="357"/>
                  </a:lnTo>
                  <a:lnTo>
                    <a:pt x="193" y="364"/>
                  </a:lnTo>
                  <a:lnTo>
                    <a:pt x="186" y="364"/>
                  </a:lnTo>
                  <a:lnTo>
                    <a:pt x="175" y="368"/>
                  </a:lnTo>
                  <a:lnTo>
                    <a:pt x="168" y="364"/>
                  </a:lnTo>
                  <a:lnTo>
                    <a:pt x="157" y="361"/>
                  </a:lnTo>
                  <a:lnTo>
                    <a:pt x="150" y="354"/>
                  </a:lnTo>
                  <a:lnTo>
                    <a:pt x="147" y="343"/>
                  </a:lnTo>
                  <a:lnTo>
                    <a:pt x="143" y="333"/>
                  </a:lnTo>
                  <a:lnTo>
                    <a:pt x="143" y="312"/>
                  </a:lnTo>
                  <a:lnTo>
                    <a:pt x="147" y="294"/>
                  </a:lnTo>
                  <a:lnTo>
                    <a:pt x="147" y="273"/>
                  </a:lnTo>
                  <a:lnTo>
                    <a:pt x="143" y="259"/>
                  </a:lnTo>
                  <a:lnTo>
                    <a:pt x="136" y="252"/>
                  </a:lnTo>
                  <a:lnTo>
                    <a:pt x="133" y="252"/>
                  </a:lnTo>
                  <a:lnTo>
                    <a:pt x="126" y="256"/>
                  </a:lnTo>
                  <a:lnTo>
                    <a:pt x="115" y="263"/>
                  </a:lnTo>
                  <a:lnTo>
                    <a:pt x="101" y="273"/>
                  </a:lnTo>
                  <a:lnTo>
                    <a:pt x="84" y="280"/>
                  </a:lnTo>
                  <a:lnTo>
                    <a:pt x="63" y="287"/>
                  </a:lnTo>
                  <a:lnTo>
                    <a:pt x="42" y="294"/>
                  </a:lnTo>
                  <a:lnTo>
                    <a:pt x="31" y="291"/>
                  </a:lnTo>
                  <a:lnTo>
                    <a:pt x="21" y="287"/>
                  </a:lnTo>
                  <a:lnTo>
                    <a:pt x="14" y="280"/>
                  </a:lnTo>
                  <a:lnTo>
                    <a:pt x="7" y="270"/>
                  </a:lnTo>
                  <a:lnTo>
                    <a:pt x="0" y="259"/>
                  </a:lnTo>
                  <a:lnTo>
                    <a:pt x="0" y="249"/>
                  </a:lnTo>
                  <a:lnTo>
                    <a:pt x="3" y="231"/>
                  </a:lnTo>
                  <a:lnTo>
                    <a:pt x="7" y="221"/>
                  </a:lnTo>
                  <a:lnTo>
                    <a:pt x="14" y="210"/>
                  </a:lnTo>
                  <a:lnTo>
                    <a:pt x="21" y="207"/>
                  </a:lnTo>
                  <a:lnTo>
                    <a:pt x="31" y="199"/>
                  </a:lnTo>
                  <a:lnTo>
                    <a:pt x="45" y="192"/>
                  </a:lnTo>
                  <a:lnTo>
                    <a:pt x="52" y="185"/>
                  </a:lnTo>
                  <a:lnTo>
                    <a:pt x="59" y="182"/>
                  </a:lnTo>
                  <a:lnTo>
                    <a:pt x="59" y="171"/>
                  </a:lnTo>
                  <a:lnTo>
                    <a:pt x="56" y="164"/>
                  </a:lnTo>
                  <a:lnTo>
                    <a:pt x="45" y="150"/>
                  </a:lnTo>
                  <a:lnTo>
                    <a:pt x="35" y="133"/>
                  </a:lnTo>
                  <a:lnTo>
                    <a:pt x="31" y="115"/>
                  </a:lnTo>
                  <a:lnTo>
                    <a:pt x="28" y="91"/>
                  </a:lnTo>
                  <a:lnTo>
                    <a:pt x="28" y="77"/>
                  </a:lnTo>
                  <a:lnTo>
                    <a:pt x="35" y="66"/>
                  </a:lnTo>
                  <a:lnTo>
                    <a:pt x="42" y="59"/>
                  </a:lnTo>
                  <a:lnTo>
                    <a:pt x="59" y="59"/>
                  </a:lnTo>
                  <a:lnTo>
                    <a:pt x="77" y="59"/>
                  </a:lnTo>
                  <a:close/>
                </a:path>
              </a:pathLst>
            </a:custGeom>
            <a:pattFill prst="weave">
              <a:fgClr>
                <a:srgbClr val="E8CDE3"/>
              </a:fgClr>
              <a:bgClr>
                <a:srgbClr val="DAAED2"/>
              </a:bgClr>
            </a:pattFill>
            <a:ln w="0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7" name="Freeform 1696"/>
            <p:cNvSpPr>
              <a:spLocks/>
            </p:cNvSpPr>
            <p:nvPr/>
          </p:nvSpPr>
          <p:spPr bwMode="auto">
            <a:xfrm>
              <a:off x="3323" y="2163"/>
              <a:ext cx="291" cy="319"/>
            </a:xfrm>
            <a:custGeom>
              <a:avLst/>
              <a:gdLst>
                <a:gd name="T0" fmla="*/ 8 w 309"/>
                <a:gd name="T1" fmla="*/ 5 h 351"/>
                <a:gd name="T2" fmla="*/ 8 w 309"/>
                <a:gd name="T3" fmla="*/ 5 h 351"/>
                <a:gd name="T4" fmla="*/ 8 w 309"/>
                <a:gd name="T5" fmla="*/ 5 h 351"/>
                <a:gd name="T6" fmla="*/ 8 w 309"/>
                <a:gd name="T7" fmla="*/ 5 h 351"/>
                <a:gd name="T8" fmla="*/ 8 w 309"/>
                <a:gd name="T9" fmla="*/ 5 h 351"/>
                <a:gd name="T10" fmla="*/ 8 w 309"/>
                <a:gd name="T11" fmla="*/ 5 h 351"/>
                <a:gd name="T12" fmla="*/ 0 w 309"/>
                <a:gd name="T13" fmla="*/ 5 h 351"/>
                <a:gd name="T14" fmla="*/ 0 w 309"/>
                <a:gd name="T15" fmla="*/ 5 h 351"/>
                <a:gd name="T16" fmla="*/ 4 w 309"/>
                <a:gd name="T17" fmla="*/ 5 h 351"/>
                <a:gd name="T18" fmla="*/ 8 w 309"/>
                <a:gd name="T19" fmla="*/ 5 h 351"/>
                <a:gd name="T20" fmla="*/ 8 w 309"/>
                <a:gd name="T21" fmla="*/ 5 h 351"/>
                <a:gd name="T22" fmla="*/ 8 w 309"/>
                <a:gd name="T23" fmla="*/ 5 h 351"/>
                <a:gd name="T24" fmla="*/ 8 w 309"/>
                <a:gd name="T25" fmla="*/ 5 h 351"/>
                <a:gd name="T26" fmla="*/ 8 w 309"/>
                <a:gd name="T27" fmla="*/ 5 h 351"/>
                <a:gd name="T28" fmla="*/ 8 w 309"/>
                <a:gd name="T29" fmla="*/ 5 h 351"/>
                <a:gd name="T30" fmla="*/ 8 w 309"/>
                <a:gd name="T31" fmla="*/ 5 h 351"/>
                <a:gd name="T32" fmla="*/ 8 w 309"/>
                <a:gd name="T33" fmla="*/ 5 h 351"/>
                <a:gd name="T34" fmla="*/ 8 w 309"/>
                <a:gd name="T35" fmla="*/ 5 h 351"/>
                <a:gd name="T36" fmla="*/ 8 w 309"/>
                <a:gd name="T37" fmla="*/ 5 h 351"/>
                <a:gd name="T38" fmla="*/ 8 w 309"/>
                <a:gd name="T39" fmla="*/ 5 h 351"/>
                <a:gd name="T40" fmla="*/ 8 w 309"/>
                <a:gd name="T41" fmla="*/ 5 h 351"/>
                <a:gd name="T42" fmla="*/ 8 w 309"/>
                <a:gd name="T43" fmla="*/ 5 h 351"/>
                <a:gd name="T44" fmla="*/ 8 w 309"/>
                <a:gd name="T45" fmla="*/ 5 h 351"/>
                <a:gd name="T46" fmla="*/ 8 w 309"/>
                <a:gd name="T47" fmla="*/ 5 h 351"/>
                <a:gd name="T48" fmla="*/ 8 w 309"/>
                <a:gd name="T49" fmla="*/ 5 h 351"/>
                <a:gd name="T50" fmla="*/ 8 w 309"/>
                <a:gd name="T51" fmla="*/ 5 h 351"/>
                <a:gd name="T52" fmla="*/ 8 w 309"/>
                <a:gd name="T53" fmla="*/ 5 h 351"/>
                <a:gd name="T54" fmla="*/ 8 w 309"/>
                <a:gd name="T55" fmla="*/ 5 h 351"/>
                <a:gd name="T56" fmla="*/ 8 w 309"/>
                <a:gd name="T57" fmla="*/ 5 h 351"/>
                <a:gd name="T58" fmla="*/ 8 w 309"/>
                <a:gd name="T59" fmla="*/ 5 h 351"/>
                <a:gd name="T60" fmla="*/ 8 w 309"/>
                <a:gd name="T61" fmla="*/ 5 h 351"/>
                <a:gd name="T62" fmla="*/ 8 w 309"/>
                <a:gd name="T63" fmla="*/ 5 h 351"/>
                <a:gd name="T64" fmla="*/ 8 w 309"/>
                <a:gd name="T65" fmla="*/ 5 h 351"/>
                <a:gd name="T66" fmla="*/ 8 w 309"/>
                <a:gd name="T67" fmla="*/ 5 h 351"/>
                <a:gd name="T68" fmla="*/ 8 w 309"/>
                <a:gd name="T69" fmla="*/ 5 h 351"/>
                <a:gd name="T70" fmla="*/ 8 w 309"/>
                <a:gd name="T71" fmla="*/ 5 h 351"/>
                <a:gd name="T72" fmla="*/ 8 w 309"/>
                <a:gd name="T73" fmla="*/ 5 h 351"/>
                <a:gd name="T74" fmla="*/ 8 w 309"/>
                <a:gd name="T75" fmla="*/ 5 h 351"/>
                <a:gd name="T76" fmla="*/ 8 w 309"/>
                <a:gd name="T77" fmla="*/ 5 h 351"/>
                <a:gd name="T78" fmla="*/ 8 w 309"/>
                <a:gd name="T79" fmla="*/ 5 h 351"/>
                <a:gd name="T80" fmla="*/ 8 w 309"/>
                <a:gd name="T81" fmla="*/ 5 h 351"/>
                <a:gd name="T82" fmla="*/ 8 w 309"/>
                <a:gd name="T83" fmla="*/ 5 h 351"/>
                <a:gd name="T84" fmla="*/ 8 w 309"/>
                <a:gd name="T85" fmla="*/ 5 h 351"/>
                <a:gd name="T86" fmla="*/ 8 w 309"/>
                <a:gd name="T87" fmla="*/ 5 h 351"/>
                <a:gd name="T88" fmla="*/ 8 w 309"/>
                <a:gd name="T89" fmla="*/ 5 h 351"/>
                <a:gd name="T90" fmla="*/ 8 w 309"/>
                <a:gd name="T91" fmla="*/ 5 h 351"/>
                <a:gd name="T92" fmla="*/ 8 w 309"/>
                <a:gd name="T93" fmla="*/ 5 h 351"/>
                <a:gd name="T94" fmla="*/ 8 w 309"/>
                <a:gd name="T95" fmla="*/ 4 h 351"/>
                <a:gd name="T96" fmla="*/ 8 w 309"/>
                <a:gd name="T97" fmla="*/ 0 h 351"/>
                <a:gd name="T98" fmla="*/ 8 w 309"/>
                <a:gd name="T99" fmla="*/ 4 h 351"/>
                <a:gd name="T100" fmla="*/ 8 w 309"/>
                <a:gd name="T101" fmla="*/ 5 h 351"/>
                <a:gd name="T102" fmla="*/ 8 w 309"/>
                <a:gd name="T103" fmla="*/ 5 h 351"/>
                <a:gd name="T104" fmla="*/ 8 w 309"/>
                <a:gd name="T105" fmla="*/ 5 h 351"/>
                <a:gd name="T106" fmla="*/ 8 w 309"/>
                <a:gd name="T107" fmla="*/ 5 h 351"/>
                <a:gd name="T108" fmla="*/ 8 w 309"/>
                <a:gd name="T109" fmla="*/ 5 h 351"/>
                <a:gd name="T110" fmla="*/ 8 w 309"/>
                <a:gd name="T111" fmla="*/ 5 h 351"/>
                <a:gd name="T112" fmla="*/ 8 w 309"/>
                <a:gd name="T113" fmla="*/ 5 h 351"/>
                <a:gd name="T114" fmla="*/ 8 w 309"/>
                <a:gd name="T115" fmla="*/ 5 h 351"/>
                <a:gd name="T116" fmla="*/ 8 w 309"/>
                <a:gd name="T117" fmla="*/ 5 h 351"/>
                <a:gd name="T118" fmla="*/ 8 w 309"/>
                <a:gd name="T119" fmla="*/ 5 h 351"/>
                <a:gd name="T120" fmla="*/ 8 w 309"/>
                <a:gd name="T121" fmla="*/ 5 h 35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9"/>
                <a:gd name="T184" fmla="*/ 0 h 351"/>
                <a:gd name="T185" fmla="*/ 309 w 309"/>
                <a:gd name="T186" fmla="*/ 351 h 35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9" h="351">
                  <a:moveTo>
                    <a:pt x="25" y="105"/>
                  </a:moveTo>
                  <a:lnTo>
                    <a:pt x="25" y="105"/>
                  </a:lnTo>
                  <a:lnTo>
                    <a:pt x="28" y="116"/>
                  </a:lnTo>
                  <a:lnTo>
                    <a:pt x="35" y="130"/>
                  </a:lnTo>
                  <a:lnTo>
                    <a:pt x="53" y="151"/>
                  </a:lnTo>
                  <a:lnTo>
                    <a:pt x="60" y="161"/>
                  </a:lnTo>
                  <a:lnTo>
                    <a:pt x="60" y="172"/>
                  </a:lnTo>
                  <a:lnTo>
                    <a:pt x="56" y="182"/>
                  </a:lnTo>
                  <a:lnTo>
                    <a:pt x="49" y="193"/>
                  </a:lnTo>
                  <a:lnTo>
                    <a:pt x="32" y="207"/>
                  </a:lnTo>
                  <a:lnTo>
                    <a:pt x="14" y="218"/>
                  </a:lnTo>
                  <a:lnTo>
                    <a:pt x="7" y="225"/>
                  </a:lnTo>
                  <a:lnTo>
                    <a:pt x="0" y="235"/>
                  </a:lnTo>
                  <a:lnTo>
                    <a:pt x="0" y="242"/>
                  </a:lnTo>
                  <a:lnTo>
                    <a:pt x="0" y="256"/>
                  </a:lnTo>
                  <a:lnTo>
                    <a:pt x="4" y="260"/>
                  </a:lnTo>
                  <a:lnTo>
                    <a:pt x="11" y="263"/>
                  </a:lnTo>
                  <a:lnTo>
                    <a:pt x="32" y="260"/>
                  </a:lnTo>
                  <a:lnTo>
                    <a:pt x="53" y="256"/>
                  </a:lnTo>
                  <a:lnTo>
                    <a:pt x="70" y="249"/>
                  </a:lnTo>
                  <a:lnTo>
                    <a:pt x="95" y="232"/>
                  </a:lnTo>
                  <a:lnTo>
                    <a:pt x="112" y="225"/>
                  </a:lnTo>
                  <a:lnTo>
                    <a:pt x="119" y="225"/>
                  </a:lnTo>
                  <a:lnTo>
                    <a:pt x="126" y="225"/>
                  </a:lnTo>
                  <a:lnTo>
                    <a:pt x="130" y="228"/>
                  </a:lnTo>
                  <a:lnTo>
                    <a:pt x="133" y="235"/>
                  </a:lnTo>
                  <a:lnTo>
                    <a:pt x="133" y="249"/>
                  </a:lnTo>
                  <a:lnTo>
                    <a:pt x="130" y="281"/>
                  </a:lnTo>
                  <a:lnTo>
                    <a:pt x="130" y="309"/>
                  </a:lnTo>
                  <a:lnTo>
                    <a:pt x="130" y="323"/>
                  </a:lnTo>
                  <a:lnTo>
                    <a:pt x="133" y="337"/>
                  </a:lnTo>
                  <a:lnTo>
                    <a:pt x="140" y="344"/>
                  </a:lnTo>
                  <a:lnTo>
                    <a:pt x="144" y="347"/>
                  </a:lnTo>
                  <a:lnTo>
                    <a:pt x="148" y="351"/>
                  </a:lnTo>
                  <a:lnTo>
                    <a:pt x="155" y="351"/>
                  </a:lnTo>
                  <a:lnTo>
                    <a:pt x="165" y="340"/>
                  </a:lnTo>
                  <a:lnTo>
                    <a:pt x="169" y="326"/>
                  </a:lnTo>
                  <a:lnTo>
                    <a:pt x="172" y="298"/>
                  </a:lnTo>
                  <a:lnTo>
                    <a:pt x="172" y="267"/>
                  </a:lnTo>
                  <a:lnTo>
                    <a:pt x="179" y="253"/>
                  </a:lnTo>
                  <a:lnTo>
                    <a:pt x="183" y="246"/>
                  </a:lnTo>
                  <a:lnTo>
                    <a:pt x="193" y="246"/>
                  </a:lnTo>
                  <a:lnTo>
                    <a:pt x="200" y="249"/>
                  </a:lnTo>
                  <a:lnTo>
                    <a:pt x="221" y="256"/>
                  </a:lnTo>
                  <a:lnTo>
                    <a:pt x="235" y="267"/>
                  </a:lnTo>
                  <a:lnTo>
                    <a:pt x="246" y="274"/>
                  </a:lnTo>
                  <a:lnTo>
                    <a:pt x="253" y="284"/>
                  </a:lnTo>
                  <a:lnTo>
                    <a:pt x="260" y="291"/>
                  </a:lnTo>
                  <a:lnTo>
                    <a:pt x="270" y="298"/>
                  </a:lnTo>
                  <a:lnTo>
                    <a:pt x="284" y="305"/>
                  </a:lnTo>
                  <a:lnTo>
                    <a:pt x="295" y="309"/>
                  </a:lnTo>
                  <a:lnTo>
                    <a:pt x="305" y="305"/>
                  </a:lnTo>
                  <a:lnTo>
                    <a:pt x="309" y="291"/>
                  </a:lnTo>
                  <a:lnTo>
                    <a:pt x="305" y="281"/>
                  </a:lnTo>
                  <a:lnTo>
                    <a:pt x="298" y="270"/>
                  </a:lnTo>
                  <a:lnTo>
                    <a:pt x="281" y="249"/>
                  </a:lnTo>
                  <a:lnTo>
                    <a:pt x="260" y="225"/>
                  </a:lnTo>
                  <a:lnTo>
                    <a:pt x="249" y="214"/>
                  </a:lnTo>
                  <a:lnTo>
                    <a:pt x="242" y="200"/>
                  </a:lnTo>
                  <a:lnTo>
                    <a:pt x="239" y="179"/>
                  </a:lnTo>
                  <a:lnTo>
                    <a:pt x="242" y="168"/>
                  </a:lnTo>
                  <a:lnTo>
                    <a:pt x="249" y="161"/>
                  </a:lnTo>
                  <a:lnTo>
                    <a:pt x="260" y="154"/>
                  </a:lnTo>
                  <a:lnTo>
                    <a:pt x="284" y="137"/>
                  </a:lnTo>
                  <a:lnTo>
                    <a:pt x="295" y="126"/>
                  </a:lnTo>
                  <a:lnTo>
                    <a:pt x="298" y="123"/>
                  </a:lnTo>
                  <a:lnTo>
                    <a:pt x="298" y="116"/>
                  </a:lnTo>
                  <a:lnTo>
                    <a:pt x="291" y="109"/>
                  </a:lnTo>
                  <a:lnTo>
                    <a:pt x="284" y="105"/>
                  </a:lnTo>
                  <a:lnTo>
                    <a:pt x="277" y="105"/>
                  </a:lnTo>
                  <a:lnTo>
                    <a:pt x="267" y="105"/>
                  </a:lnTo>
                  <a:lnTo>
                    <a:pt x="246" y="105"/>
                  </a:lnTo>
                  <a:lnTo>
                    <a:pt x="235" y="105"/>
                  </a:lnTo>
                  <a:lnTo>
                    <a:pt x="228" y="102"/>
                  </a:lnTo>
                  <a:lnTo>
                    <a:pt x="225" y="91"/>
                  </a:lnTo>
                  <a:lnTo>
                    <a:pt x="225" y="77"/>
                  </a:lnTo>
                  <a:lnTo>
                    <a:pt x="228" y="42"/>
                  </a:lnTo>
                  <a:lnTo>
                    <a:pt x="228" y="28"/>
                  </a:lnTo>
                  <a:lnTo>
                    <a:pt x="228" y="14"/>
                  </a:lnTo>
                  <a:lnTo>
                    <a:pt x="221" y="4"/>
                  </a:lnTo>
                  <a:lnTo>
                    <a:pt x="214" y="0"/>
                  </a:lnTo>
                  <a:lnTo>
                    <a:pt x="207" y="0"/>
                  </a:lnTo>
                  <a:lnTo>
                    <a:pt x="197" y="4"/>
                  </a:lnTo>
                  <a:lnTo>
                    <a:pt x="190" y="11"/>
                  </a:lnTo>
                  <a:lnTo>
                    <a:pt x="183" y="25"/>
                  </a:lnTo>
                  <a:lnTo>
                    <a:pt x="179" y="39"/>
                  </a:lnTo>
                  <a:lnTo>
                    <a:pt x="176" y="74"/>
                  </a:lnTo>
                  <a:lnTo>
                    <a:pt x="172" y="102"/>
                  </a:lnTo>
                  <a:lnTo>
                    <a:pt x="169" y="119"/>
                  </a:lnTo>
                  <a:lnTo>
                    <a:pt x="158" y="137"/>
                  </a:lnTo>
                  <a:lnTo>
                    <a:pt x="151" y="144"/>
                  </a:lnTo>
                  <a:lnTo>
                    <a:pt x="144" y="147"/>
                  </a:lnTo>
                  <a:lnTo>
                    <a:pt x="137" y="144"/>
                  </a:lnTo>
                  <a:lnTo>
                    <a:pt x="126" y="140"/>
                  </a:lnTo>
                  <a:lnTo>
                    <a:pt x="102" y="119"/>
                  </a:lnTo>
                  <a:lnTo>
                    <a:pt x="84" y="102"/>
                  </a:lnTo>
                  <a:lnTo>
                    <a:pt x="67" y="88"/>
                  </a:lnTo>
                  <a:lnTo>
                    <a:pt x="42" y="74"/>
                  </a:lnTo>
                  <a:lnTo>
                    <a:pt x="28" y="74"/>
                  </a:lnTo>
                  <a:lnTo>
                    <a:pt x="21" y="77"/>
                  </a:lnTo>
                  <a:lnTo>
                    <a:pt x="21" y="88"/>
                  </a:lnTo>
                  <a:lnTo>
                    <a:pt x="25" y="105"/>
                  </a:lnTo>
                  <a:close/>
                </a:path>
              </a:pathLst>
            </a:custGeom>
            <a:gradFill rotWithShape="1">
              <a:gsLst>
                <a:gs pos="0">
                  <a:srgbClr val="8EAF41"/>
                </a:gs>
                <a:gs pos="100000">
                  <a:srgbClr val="42511E"/>
                </a:gs>
              </a:gsLst>
              <a:path path="rect">
                <a:fillToRect l="50000" t="50000" r="50000" b="50000"/>
              </a:path>
            </a:gradFill>
            <a:ln w="6350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8" name="Freeform 1697"/>
            <p:cNvSpPr>
              <a:spLocks/>
            </p:cNvSpPr>
            <p:nvPr/>
          </p:nvSpPr>
          <p:spPr bwMode="auto">
            <a:xfrm>
              <a:off x="3455" y="2245"/>
              <a:ext cx="100" cy="118"/>
            </a:xfrm>
            <a:custGeom>
              <a:avLst/>
              <a:gdLst>
                <a:gd name="T0" fmla="*/ 8 w 106"/>
                <a:gd name="T1" fmla="*/ 5 h 130"/>
                <a:gd name="T2" fmla="*/ 8 w 106"/>
                <a:gd name="T3" fmla="*/ 5 h 130"/>
                <a:gd name="T4" fmla="*/ 8 w 106"/>
                <a:gd name="T5" fmla="*/ 5 h 130"/>
                <a:gd name="T6" fmla="*/ 8 w 106"/>
                <a:gd name="T7" fmla="*/ 0 h 130"/>
                <a:gd name="T8" fmla="*/ 8 w 106"/>
                <a:gd name="T9" fmla="*/ 0 h 130"/>
                <a:gd name="T10" fmla="*/ 8 w 106"/>
                <a:gd name="T11" fmla="*/ 0 h 130"/>
                <a:gd name="T12" fmla="*/ 8 w 106"/>
                <a:gd name="T13" fmla="*/ 4 h 130"/>
                <a:gd name="T14" fmla="*/ 8 w 106"/>
                <a:gd name="T15" fmla="*/ 5 h 130"/>
                <a:gd name="T16" fmla="*/ 8 w 106"/>
                <a:gd name="T17" fmla="*/ 5 h 130"/>
                <a:gd name="T18" fmla="*/ 8 w 106"/>
                <a:gd name="T19" fmla="*/ 5 h 130"/>
                <a:gd name="T20" fmla="*/ 8 w 106"/>
                <a:gd name="T21" fmla="*/ 5 h 130"/>
                <a:gd name="T22" fmla="*/ 8 w 106"/>
                <a:gd name="T23" fmla="*/ 5 h 130"/>
                <a:gd name="T24" fmla="*/ 8 w 106"/>
                <a:gd name="T25" fmla="*/ 5 h 130"/>
                <a:gd name="T26" fmla="*/ 8 w 106"/>
                <a:gd name="T27" fmla="*/ 5 h 130"/>
                <a:gd name="T28" fmla="*/ 8 w 106"/>
                <a:gd name="T29" fmla="*/ 5 h 130"/>
                <a:gd name="T30" fmla="*/ 8 w 106"/>
                <a:gd name="T31" fmla="*/ 5 h 130"/>
                <a:gd name="T32" fmla="*/ 8 w 106"/>
                <a:gd name="T33" fmla="*/ 5 h 130"/>
                <a:gd name="T34" fmla="*/ 8 w 106"/>
                <a:gd name="T35" fmla="*/ 5 h 130"/>
                <a:gd name="T36" fmla="*/ 8 w 106"/>
                <a:gd name="T37" fmla="*/ 5 h 130"/>
                <a:gd name="T38" fmla="*/ 8 w 106"/>
                <a:gd name="T39" fmla="*/ 5 h 130"/>
                <a:gd name="T40" fmla="*/ 8 w 106"/>
                <a:gd name="T41" fmla="*/ 5 h 130"/>
                <a:gd name="T42" fmla="*/ 8 w 106"/>
                <a:gd name="T43" fmla="*/ 5 h 130"/>
                <a:gd name="T44" fmla="*/ 8 w 106"/>
                <a:gd name="T45" fmla="*/ 5 h 130"/>
                <a:gd name="T46" fmla="*/ 8 w 106"/>
                <a:gd name="T47" fmla="*/ 5 h 130"/>
                <a:gd name="T48" fmla="*/ 8 w 106"/>
                <a:gd name="T49" fmla="*/ 5 h 130"/>
                <a:gd name="T50" fmla="*/ 8 w 106"/>
                <a:gd name="T51" fmla="*/ 5 h 130"/>
                <a:gd name="T52" fmla="*/ 8 w 106"/>
                <a:gd name="T53" fmla="*/ 5 h 130"/>
                <a:gd name="T54" fmla="*/ 8 w 106"/>
                <a:gd name="T55" fmla="*/ 5 h 130"/>
                <a:gd name="T56" fmla="*/ 8 w 106"/>
                <a:gd name="T57" fmla="*/ 5 h 130"/>
                <a:gd name="T58" fmla="*/ 8 w 106"/>
                <a:gd name="T59" fmla="*/ 5 h 130"/>
                <a:gd name="T60" fmla="*/ 8 w 106"/>
                <a:gd name="T61" fmla="*/ 5 h 130"/>
                <a:gd name="T62" fmla="*/ 8 w 106"/>
                <a:gd name="T63" fmla="*/ 5 h 130"/>
                <a:gd name="T64" fmla="*/ 8 w 106"/>
                <a:gd name="T65" fmla="*/ 5 h 130"/>
                <a:gd name="T66" fmla="*/ 8 w 106"/>
                <a:gd name="T67" fmla="*/ 5 h 130"/>
                <a:gd name="T68" fmla="*/ 8 w 106"/>
                <a:gd name="T69" fmla="*/ 5 h 130"/>
                <a:gd name="T70" fmla="*/ 4 w 106"/>
                <a:gd name="T71" fmla="*/ 5 h 130"/>
                <a:gd name="T72" fmla="*/ 0 w 106"/>
                <a:gd name="T73" fmla="*/ 5 h 130"/>
                <a:gd name="T74" fmla="*/ 0 w 106"/>
                <a:gd name="T75" fmla="*/ 5 h 130"/>
                <a:gd name="T76" fmla="*/ 0 w 106"/>
                <a:gd name="T77" fmla="*/ 5 h 130"/>
                <a:gd name="T78" fmla="*/ 0 w 106"/>
                <a:gd name="T79" fmla="*/ 5 h 130"/>
                <a:gd name="T80" fmla="*/ 4 w 106"/>
                <a:gd name="T81" fmla="*/ 5 h 130"/>
                <a:gd name="T82" fmla="*/ 4 w 106"/>
                <a:gd name="T83" fmla="*/ 5 h 130"/>
                <a:gd name="T84" fmla="*/ 8 w 106"/>
                <a:gd name="T85" fmla="*/ 5 h 130"/>
                <a:gd name="T86" fmla="*/ 8 w 106"/>
                <a:gd name="T87" fmla="*/ 5 h 130"/>
                <a:gd name="T88" fmla="*/ 8 w 106"/>
                <a:gd name="T89" fmla="*/ 5 h 130"/>
                <a:gd name="T90" fmla="*/ 8 w 106"/>
                <a:gd name="T91" fmla="*/ 5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130"/>
                <a:gd name="T140" fmla="*/ 106 w 106"/>
                <a:gd name="T141" fmla="*/ 130 h 1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130">
                  <a:moveTo>
                    <a:pt x="32" y="25"/>
                  </a:moveTo>
                  <a:lnTo>
                    <a:pt x="32" y="25"/>
                  </a:lnTo>
                  <a:lnTo>
                    <a:pt x="36" y="7"/>
                  </a:lnTo>
                  <a:lnTo>
                    <a:pt x="39" y="0"/>
                  </a:lnTo>
                  <a:lnTo>
                    <a:pt x="46" y="0"/>
                  </a:lnTo>
                  <a:lnTo>
                    <a:pt x="50" y="4"/>
                  </a:lnTo>
                  <a:lnTo>
                    <a:pt x="57" y="11"/>
                  </a:lnTo>
                  <a:lnTo>
                    <a:pt x="60" y="18"/>
                  </a:lnTo>
                  <a:lnTo>
                    <a:pt x="67" y="25"/>
                  </a:lnTo>
                  <a:lnTo>
                    <a:pt x="74" y="32"/>
                  </a:lnTo>
                  <a:lnTo>
                    <a:pt x="85" y="35"/>
                  </a:lnTo>
                  <a:lnTo>
                    <a:pt x="95" y="39"/>
                  </a:lnTo>
                  <a:lnTo>
                    <a:pt x="99" y="46"/>
                  </a:lnTo>
                  <a:lnTo>
                    <a:pt x="102" y="53"/>
                  </a:lnTo>
                  <a:lnTo>
                    <a:pt x="102" y="81"/>
                  </a:lnTo>
                  <a:lnTo>
                    <a:pt x="102" y="91"/>
                  </a:lnTo>
                  <a:lnTo>
                    <a:pt x="99" y="98"/>
                  </a:lnTo>
                  <a:lnTo>
                    <a:pt x="102" y="106"/>
                  </a:lnTo>
                  <a:lnTo>
                    <a:pt x="106" y="116"/>
                  </a:lnTo>
                  <a:lnTo>
                    <a:pt x="106" y="127"/>
                  </a:lnTo>
                  <a:lnTo>
                    <a:pt x="95" y="130"/>
                  </a:lnTo>
                  <a:lnTo>
                    <a:pt x="85" y="127"/>
                  </a:lnTo>
                  <a:lnTo>
                    <a:pt x="67" y="120"/>
                  </a:lnTo>
                  <a:lnTo>
                    <a:pt x="50" y="113"/>
                  </a:lnTo>
                  <a:lnTo>
                    <a:pt x="29" y="113"/>
                  </a:lnTo>
                  <a:lnTo>
                    <a:pt x="18" y="113"/>
                  </a:lnTo>
                  <a:lnTo>
                    <a:pt x="11" y="109"/>
                  </a:lnTo>
                  <a:lnTo>
                    <a:pt x="4" y="106"/>
                  </a:lnTo>
                  <a:lnTo>
                    <a:pt x="0" y="95"/>
                  </a:lnTo>
                  <a:lnTo>
                    <a:pt x="0" y="81"/>
                  </a:lnTo>
                  <a:lnTo>
                    <a:pt x="0" y="70"/>
                  </a:lnTo>
                  <a:lnTo>
                    <a:pt x="4" y="60"/>
                  </a:lnTo>
                  <a:lnTo>
                    <a:pt x="18" y="49"/>
                  </a:lnTo>
                  <a:lnTo>
                    <a:pt x="29" y="39"/>
                  </a:lnTo>
                  <a:lnTo>
                    <a:pt x="32" y="25"/>
                  </a:lnTo>
                  <a:close/>
                </a:path>
              </a:pathLst>
            </a:custGeom>
            <a:gradFill rotWithShape="1">
              <a:gsLst>
                <a:gs pos="0">
                  <a:srgbClr val="F1F7F9"/>
                </a:gs>
                <a:gs pos="100000">
                  <a:srgbClr val="A1A5A6"/>
                </a:gs>
              </a:gsLst>
              <a:path path="rect">
                <a:fillToRect l="50000" t="50000" r="50000" b="50000"/>
              </a:path>
            </a:gradFill>
            <a:ln w="0">
              <a:solidFill>
                <a:srgbClr val="80808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79" name="Freeform 1698"/>
            <p:cNvSpPr>
              <a:spLocks/>
            </p:cNvSpPr>
            <p:nvPr/>
          </p:nvSpPr>
          <p:spPr bwMode="auto">
            <a:xfrm>
              <a:off x="3070" y="1937"/>
              <a:ext cx="781" cy="799"/>
            </a:xfrm>
            <a:custGeom>
              <a:avLst/>
              <a:gdLst>
                <a:gd name="T0" fmla="*/ 8 w 830"/>
                <a:gd name="T1" fmla="*/ 5 h 879"/>
                <a:gd name="T2" fmla="*/ 8 w 830"/>
                <a:gd name="T3" fmla="*/ 5 h 879"/>
                <a:gd name="T4" fmla="*/ 8 w 830"/>
                <a:gd name="T5" fmla="*/ 5 h 879"/>
                <a:gd name="T6" fmla="*/ 8 w 830"/>
                <a:gd name="T7" fmla="*/ 5 h 879"/>
                <a:gd name="T8" fmla="*/ 8 w 830"/>
                <a:gd name="T9" fmla="*/ 5 h 879"/>
                <a:gd name="T10" fmla="*/ 8 w 830"/>
                <a:gd name="T11" fmla="*/ 5 h 879"/>
                <a:gd name="T12" fmla="*/ 8 w 830"/>
                <a:gd name="T13" fmla="*/ 5 h 879"/>
                <a:gd name="T14" fmla="*/ 8 w 830"/>
                <a:gd name="T15" fmla="*/ 5 h 879"/>
                <a:gd name="T16" fmla="*/ 8 w 830"/>
                <a:gd name="T17" fmla="*/ 5 h 879"/>
                <a:gd name="T18" fmla="*/ 8 w 830"/>
                <a:gd name="T19" fmla="*/ 5 h 879"/>
                <a:gd name="T20" fmla="*/ 8 w 830"/>
                <a:gd name="T21" fmla="*/ 5 h 879"/>
                <a:gd name="T22" fmla="*/ 8 w 830"/>
                <a:gd name="T23" fmla="*/ 5 h 879"/>
                <a:gd name="T24" fmla="*/ 8 w 830"/>
                <a:gd name="T25" fmla="*/ 5 h 879"/>
                <a:gd name="T26" fmla="*/ 8 w 830"/>
                <a:gd name="T27" fmla="*/ 5 h 879"/>
                <a:gd name="T28" fmla="*/ 8 w 830"/>
                <a:gd name="T29" fmla="*/ 5 h 879"/>
                <a:gd name="T30" fmla="*/ 8 w 830"/>
                <a:gd name="T31" fmla="*/ 5 h 879"/>
                <a:gd name="T32" fmla="*/ 8 w 830"/>
                <a:gd name="T33" fmla="*/ 5 h 879"/>
                <a:gd name="T34" fmla="*/ 8 w 830"/>
                <a:gd name="T35" fmla="*/ 5 h 879"/>
                <a:gd name="T36" fmla="*/ 8 w 830"/>
                <a:gd name="T37" fmla="*/ 5 h 879"/>
                <a:gd name="T38" fmla="*/ 8 w 830"/>
                <a:gd name="T39" fmla="*/ 5 h 879"/>
                <a:gd name="T40" fmla="*/ 8 w 830"/>
                <a:gd name="T41" fmla="*/ 5 h 879"/>
                <a:gd name="T42" fmla="*/ 8 w 830"/>
                <a:gd name="T43" fmla="*/ 5 h 879"/>
                <a:gd name="T44" fmla="*/ 8 w 830"/>
                <a:gd name="T45" fmla="*/ 5 h 879"/>
                <a:gd name="T46" fmla="*/ 8 w 830"/>
                <a:gd name="T47" fmla="*/ 5 h 879"/>
                <a:gd name="T48" fmla="*/ 8 w 830"/>
                <a:gd name="T49" fmla="*/ 5 h 879"/>
                <a:gd name="T50" fmla="*/ 8 w 830"/>
                <a:gd name="T51" fmla="*/ 5 h 879"/>
                <a:gd name="T52" fmla="*/ 8 w 830"/>
                <a:gd name="T53" fmla="*/ 5 h 879"/>
                <a:gd name="T54" fmla="*/ 8 w 830"/>
                <a:gd name="T55" fmla="*/ 5 h 879"/>
                <a:gd name="T56" fmla="*/ 8 w 830"/>
                <a:gd name="T57" fmla="*/ 5 h 879"/>
                <a:gd name="T58" fmla="*/ 8 w 830"/>
                <a:gd name="T59" fmla="*/ 5 h 879"/>
                <a:gd name="T60" fmla="*/ 8 w 830"/>
                <a:gd name="T61" fmla="*/ 5 h 879"/>
                <a:gd name="T62" fmla="*/ 0 w 830"/>
                <a:gd name="T63" fmla="*/ 5 h 879"/>
                <a:gd name="T64" fmla="*/ 8 w 830"/>
                <a:gd name="T65" fmla="*/ 5 h 879"/>
                <a:gd name="T66" fmla="*/ 8 w 830"/>
                <a:gd name="T67" fmla="*/ 5 h 879"/>
                <a:gd name="T68" fmla="*/ 8 w 830"/>
                <a:gd name="T69" fmla="*/ 5 h 879"/>
                <a:gd name="T70" fmla="*/ 8 w 830"/>
                <a:gd name="T71" fmla="*/ 5 h 879"/>
                <a:gd name="T72" fmla="*/ 8 w 830"/>
                <a:gd name="T73" fmla="*/ 5 h 879"/>
                <a:gd name="T74" fmla="*/ 8 w 830"/>
                <a:gd name="T75" fmla="*/ 5 h 879"/>
                <a:gd name="T76" fmla="*/ 8 w 830"/>
                <a:gd name="T77" fmla="*/ 5 h 879"/>
                <a:gd name="T78" fmla="*/ 8 w 830"/>
                <a:gd name="T79" fmla="*/ 5 h 879"/>
                <a:gd name="T80" fmla="*/ 8 w 830"/>
                <a:gd name="T81" fmla="*/ 5 h 879"/>
                <a:gd name="T82" fmla="*/ 8 w 830"/>
                <a:gd name="T83" fmla="*/ 5 h 879"/>
                <a:gd name="T84" fmla="*/ 8 w 830"/>
                <a:gd name="T85" fmla="*/ 5 h 879"/>
                <a:gd name="T86" fmla="*/ 8 w 830"/>
                <a:gd name="T87" fmla="*/ 5 h 879"/>
                <a:gd name="T88" fmla="*/ 8 w 830"/>
                <a:gd name="T89" fmla="*/ 5 h 879"/>
                <a:gd name="T90" fmla="*/ 8 w 830"/>
                <a:gd name="T91" fmla="*/ 5 h 879"/>
                <a:gd name="T92" fmla="*/ 8 w 830"/>
                <a:gd name="T93" fmla="*/ 5 h 879"/>
                <a:gd name="T94" fmla="*/ 8 w 830"/>
                <a:gd name="T95" fmla="*/ 5 h 879"/>
                <a:gd name="T96" fmla="*/ 8 w 830"/>
                <a:gd name="T97" fmla="*/ 5 h 879"/>
                <a:gd name="T98" fmla="*/ 8 w 830"/>
                <a:gd name="T99" fmla="*/ 5 h 879"/>
                <a:gd name="T100" fmla="*/ 8 w 830"/>
                <a:gd name="T101" fmla="*/ 5 h 8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30"/>
                <a:gd name="T154" fmla="*/ 0 h 879"/>
                <a:gd name="T155" fmla="*/ 830 w 830"/>
                <a:gd name="T156" fmla="*/ 879 h 8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30" h="879">
                  <a:moveTo>
                    <a:pt x="476" y="0"/>
                  </a:moveTo>
                  <a:lnTo>
                    <a:pt x="476" y="0"/>
                  </a:lnTo>
                  <a:lnTo>
                    <a:pt x="508" y="10"/>
                  </a:lnTo>
                  <a:lnTo>
                    <a:pt x="543" y="24"/>
                  </a:lnTo>
                  <a:lnTo>
                    <a:pt x="571" y="45"/>
                  </a:lnTo>
                  <a:lnTo>
                    <a:pt x="595" y="66"/>
                  </a:lnTo>
                  <a:lnTo>
                    <a:pt x="613" y="91"/>
                  </a:lnTo>
                  <a:lnTo>
                    <a:pt x="630" y="112"/>
                  </a:lnTo>
                  <a:lnTo>
                    <a:pt x="655" y="129"/>
                  </a:lnTo>
                  <a:lnTo>
                    <a:pt x="669" y="140"/>
                  </a:lnTo>
                  <a:lnTo>
                    <a:pt x="676" y="150"/>
                  </a:lnTo>
                  <a:lnTo>
                    <a:pt x="683" y="164"/>
                  </a:lnTo>
                  <a:lnTo>
                    <a:pt x="686" y="182"/>
                  </a:lnTo>
                  <a:lnTo>
                    <a:pt x="693" y="196"/>
                  </a:lnTo>
                  <a:lnTo>
                    <a:pt x="704" y="210"/>
                  </a:lnTo>
                  <a:lnTo>
                    <a:pt x="718" y="238"/>
                  </a:lnTo>
                  <a:lnTo>
                    <a:pt x="732" y="262"/>
                  </a:lnTo>
                  <a:lnTo>
                    <a:pt x="760" y="308"/>
                  </a:lnTo>
                  <a:lnTo>
                    <a:pt x="774" y="332"/>
                  </a:lnTo>
                  <a:lnTo>
                    <a:pt x="784" y="360"/>
                  </a:lnTo>
                  <a:lnTo>
                    <a:pt x="795" y="374"/>
                  </a:lnTo>
                  <a:lnTo>
                    <a:pt x="805" y="388"/>
                  </a:lnTo>
                  <a:lnTo>
                    <a:pt x="816" y="399"/>
                  </a:lnTo>
                  <a:lnTo>
                    <a:pt x="823" y="416"/>
                  </a:lnTo>
                  <a:lnTo>
                    <a:pt x="826" y="445"/>
                  </a:lnTo>
                  <a:lnTo>
                    <a:pt x="826" y="476"/>
                  </a:lnTo>
                  <a:lnTo>
                    <a:pt x="830" y="543"/>
                  </a:lnTo>
                  <a:lnTo>
                    <a:pt x="826" y="578"/>
                  </a:lnTo>
                  <a:lnTo>
                    <a:pt x="819" y="595"/>
                  </a:lnTo>
                  <a:lnTo>
                    <a:pt x="812" y="609"/>
                  </a:lnTo>
                  <a:lnTo>
                    <a:pt x="774" y="665"/>
                  </a:lnTo>
                  <a:lnTo>
                    <a:pt x="739" y="721"/>
                  </a:lnTo>
                  <a:lnTo>
                    <a:pt x="728" y="739"/>
                  </a:lnTo>
                  <a:lnTo>
                    <a:pt x="718" y="746"/>
                  </a:lnTo>
                  <a:lnTo>
                    <a:pt x="690" y="760"/>
                  </a:lnTo>
                  <a:lnTo>
                    <a:pt x="676" y="767"/>
                  </a:lnTo>
                  <a:lnTo>
                    <a:pt x="665" y="777"/>
                  </a:lnTo>
                  <a:lnTo>
                    <a:pt x="644" y="798"/>
                  </a:lnTo>
                  <a:lnTo>
                    <a:pt x="616" y="819"/>
                  </a:lnTo>
                  <a:lnTo>
                    <a:pt x="585" y="833"/>
                  </a:lnTo>
                  <a:lnTo>
                    <a:pt x="525" y="861"/>
                  </a:lnTo>
                  <a:lnTo>
                    <a:pt x="508" y="868"/>
                  </a:lnTo>
                  <a:lnTo>
                    <a:pt x="487" y="875"/>
                  </a:lnTo>
                  <a:lnTo>
                    <a:pt x="441" y="879"/>
                  </a:lnTo>
                  <a:lnTo>
                    <a:pt x="350" y="875"/>
                  </a:lnTo>
                  <a:lnTo>
                    <a:pt x="308" y="875"/>
                  </a:lnTo>
                  <a:lnTo>
                    <a:pt x="287" y="868"/>
                  </a:lnTo>
                  <a:lnTo>
                    <a:pt x="269" y="861"/>
                  </a:lnTo>
                  <a:lnTo>
                    <a:pt x="252" y="851"/>
                  </a:lnTo>
                  <a:lnTo>
                    <a:pt x="238" y="840"/>
                  </a:lnTo>
                  <a:lnTo>
                    <a:pt x="217" y="830"/>
                  </a:lnTo>
                  <a:lnTo>
                    <a:pt x="199" y="819"/>
                  </a:lnTo>
                  <a:lnTo>
                    <a:pt x="171" y="802"/>
                  </a:lnTo>
                  <a:lnTo>
                    <a:pt x="161" y="788"/>
                  </a:lnTo>
                  <a:lnTo>
                    <a:pt x="150" y="777"/>
                  </a:lnTo>
                  <a:lnTo>
                    <a:pt x="143" y="763"/>
                  </a:lnTo>
                  <a:lnTo>
                    <a:pt x="140" y="746"/>
                  </a:lnTo>
                  <a:lnTo>
                    <a:pt x="133" y="728"/>
                  </a:lnTo>
                  <a:lnTo>
                    <a:pt x="126" y="718"/>
                  </a:lnTo>
                  <a:lnTo>
                    <a:pt x="105" y="697"/>
                  </a:lnTo>
                  <a:lnTo>
                    <a:pt x="94" y="686"/>
                  </a:lnTo>
                  <a:lnTo>
                    <a:pt x="84" y="672"/>
                  </a:lnTo>
                  <a:lnTo>
                    <a:pt x="59" y="637"/>
                  </a:lnTo>
                  <a:lnTo>
                    <a:pt x="42" y="602"/>
                  </a:lnTo>
                  <a:lnTo>
                    <a:pt x="35" y="585"/>
                  </a:lnTo>
                  <a:lnTo>
                    <a:pt x="28" y="567"/>
                  </a:lnTo>
                  <a:lnTo>
                    <a:pt x="28" y="546"/>
                  </a:lnTo>
                  <a:lnTo>
                    <a:pt x="28" y="525"/>
                  </a:lnTo>
                  <a:lnTo>
                    <a:pt x="28" y="504"/>
                  </a:lnTo>
                  <a:lnTo>
                    <a:pt x="24" y="487"/>
                  </a:lnTo>
                  <a:lnTo>
                    <a:pt x="14" y="445"/>
                  </a:lnTo>
                  <a:lnTo>
                    <a:pt x="3" y="406"/>
                  </a:lnTo>
                  <a:lnTo>
                    <a:pt x="0" y="385"/>
                  </a:lnTo>
                  <a:lnTo>
                    <a:pt x="3" y="367"/>
                  </a:lnTo>
                  <a:lnTo>
                    <a:pt x="10" y="353"/>
                  </a:lnTo>
                  <a:lnTo>
                    <a:pt x="21" y="343"/>
                  </a:lnTo>
                  <a:lnTo>
                    <a:pt x="31" y="332"/>
                  </a:lnTo>
                  <a:lnTo>
                    <a:pt x="38" y="318"/>
                  </a:lnTo>
                  <a:lnTo>
                    <a:pt x="38" y="290"/>
                  </a:lnTo>
                  <a:lnTo>
                    <a:pt x="42" y="276"/>
                  </a:lnTo>
                  <a:lnTo>
                    <a:pt x="45" y="262"/>
                  </a:lnTo>
                  <a:lnTo>
                    <a:pt x="52" y="252"/>
                  </a:lnTo>
                  <a:lnTo>
                    <a:pt x="59" y="248"/>
                  </a:lnTo>
                  <a:lnTo>
                    <a:pt x="80" y="241"/>
                  </a:lnTo>
                  <a:lnTo>
                    <a:pt x="98" y="231"/>
                  </a:lnTo>
                  <a:lnTo>
                    <a:pt x="112" y="224"/>
                  </a:lnTo>
                  <a:lnTo>
                    <a:pt x="126" y="210"/>
                  </a:lnTo>
                  <a:lnTo>
                    <a:pt x="136" y="196"/>
                  </a:lnTo>
                  <a:lnTo>
                    <a:pt x="140" y="182"/>
                  </a:lnTo>
                  <a:lnTo>
                    <a:pt x="140" y="164"/>
                  </a:lnTo>
                  <a:lnTo>
                    <a:pt x="143" y="133"/>
                  </a:lnTo>
                  <a:lnTo>
                    <a:pt x="147" y="119"/>
                  </a:lnTo>
                  <a:lnTo>
                    <a:pt x="154" y="108"/>
                  </a:lnTo>
                  <a:lnTo>
                    <a:pt x="175" y="91"/>
                  </a:lnTo>
                  <a:lnTo>
                    <a:pt x="185" y="84"/>
                  </a:lnTo>
                  <a:lnTo>
                    <a:pt x="196" y="84"/>
                  </a:lnTo>
                  <a:lnTo>
                    <a:pt x="206" y="80"/>
                  </a:lnTo>
                  <a:lnTo>
                    <a:pt x="220" y="77"/>
                  </a:lnTo>
                  <a:lnTo>
                    <a:pt x="227" y="70"/>
                  </a:lnTo>
                  <a:lnTo>
                    <a:pt x="238" y="63"/>
                  </a:lnTo>
                  <a:lnTo>
                    <a:pt x="252" y="49"/>
                  </a:lnTo>
                  <a:lnTo>
                    <a:pt x="266" y="38"/>
                  </a:lnTo>
                  <a:lnTo>
                    <a:pt x="287" y="31"/>
                  </a:lnTo>
                  <a:lnTo>
                    <a:pt x="304" y="24"/>
                  </a:lnTo>
                  <a:lnTo>
                    <a:pt x="325" y="24"/>
                  </a:lnTo>
                  <a:lnTo>
                    <a:pt x="336" y="31"/>
                  </a:lnTo>
                  <a:lnTo>
                    <a:pt x="346" y="38"/>
                  </a:lnTo>
                  <a:lnTo>
                    <a:pt x="353" y="49"/>
                  </a:lnTo>
                  <a:lnTo>
                    <a:pt x="364" y="56"/>
                  </a:lnTo>
                  <a:lnTo>
                    <a:pt x="378" y="63"/>
                  </a:lnTo>
                  <a:lnTo>
                    <a:pt x="395" y="63"/>
                  </a:lnTo>
                  <a:lnTo>
                    <a:pt x="413" y="59"/>
                  </a:lnTo>
                  <a:lnTo>
                    <a:pt x="427" y="52"/>
                  </a:lnTo>
                  <a:lnTo>
                    <a:pt x="441" y="49"/>
                  </a:lnTo>
                  <a:lnTo>
                    <a:pt x="448" y="38"/>
                  </a:lnTo>
                  <a:lnTo>
                    <a:pt x="462" y="21"/>
                  </a:lnTo>
                  <a:lnTo>
                    <a:pt x="469" y="14"/>
                  </a:lnTo>
                  <a:lnTo>
                    <a:pt x="480" y="10"/>
                  </a:lnTo>
                  <a:lnTo>
                    <a:pt x="501" y="7"/>
                  </a:lnTo>
                </a:path>
              </a:pathLst>
            </a:custGeom>
            <a:noFill/>
            <a:ln w="12700">
              <a:solidFill>
                <a:srgbClr val="97295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280" name="Freeform 1699"/>
            <p:cNvSpPr>
              <a:spLocks/>
            </p:cNvSpPr>
            <p:nvPr/>
          </p:nvSpPr>
          <p:spPr bwMode="auto">
            <a:xfrm>
              <a:off x="3067" y="1946"/>
              <a:ext cx="764" cy="790"/>
            </a:xfrm>
            <a:custGeom>
              <a:avLst/>
              <a:gdLst>
                <a:gd name="T0" fmla="*/ 8 w 813"/>
                <a:gd name="T1" fmla="*/ 5 h 869"/>
                <a:gd name="T2" fmla="*/ 8 w 813"/>
                <a:gd name="T3" fmla="*/ 5 h 869"/>
                <a:gd name="T4" fmla="*/ 8 w 813"/>
                <a:gd name="T5" fmla="*/ 5 h 869"/>
                <a:gd name="T6" fmla="*/ 8 w 813"/>
                <a:gd name="T7" fmla="*/ 5 h 869"/>
                <a:gd name="T8" fmla="*/ 8 w 813"/>
                <a:gd name="T9" fmla="*/ 5 h 869"/>
                <a:gd name="T10" fmla="*/ 4 w 813"/>
                <a:gd name="T11" fmla="*/ 5 h 869"/>
                <a:gd name="T12" fmla="*/ 8 w 813"/>
                <a:gd name="T13" fmla="*/ 5 h 869"/>
                <a:gd name="T14" fmla="*/ 8 w 813"/>
                <a:gd name="T15" fmla="*/ 5 h 869"/>
                <a:gd name="T16" fmla="*/ 8 w 813"/>
                <a:gd name="T17" fmla="*/ 5 h 869"/>
                <a:gd name="T18" fmla="*/ 8 w 813"/>
                <a:gd name="T19" fmla="*/ 5 h 869"/>
                <a:gd name="T20" fmla="*/ 8 w 813"/>
                <a:gd name="T21" fmla="*/ 5 h 869"/>
                <a:gd name="T22" fmla="*/ 8 w 813"/>
                <a:gd name="T23" fmla="*/ 5 h 869"/>
                <a:gd name="T24" fmla="*/ 8 w 813"/>
                <a:gd name="T25" fmla="*/ 5 h 869"/>
                <a:gd name="T26" fmla="*/ 8 w 813"/>
                <a:gd name="T27" fmla="*/ 5 h 869"/>
                <a:gd name="T28" fmla="*/ 8 w 813"/>
                <a:gd name="T29" fmla="*/ 5 h 869"/>
                <a:gd name="T30" fmla="*/ 8 w 813"/>
                <a:gd name="T31" fmla="*/ 5 h 869"/>
                <a:gd name="T32" fmla="*/ 8 w 813"/>
                <a:gd name="T33" fmla="*/ 5 h 869"/>
                <a:gd name="T34" fmla="*/ 8 w 813"/>
                <a:gd name="T35" fmla="*/ 5 h 869"/>
                <a:gd name="T36" fmla="*/ 8 w 813"/>
                <a:gd name="T37" fmla="*/ 5 h 869"/>
                <a:gd name="T38" fmla="*/ 8 w 813"/>
                <a:gd name="T39" fmla="*/ 5 h 869"/>
                <a:gd name="T40" fmla="*/ 8 w 813"/>
                <a:gd name="T41" fmla="*/ 5 h 869"/>
                <a:gd name="T42" fmla="*/ 8 w 813"/>
                <a:gd name="T43" fmla="*/ 5 h 869"/>
                <a:gd name="T44" fmla="*/ 8 w 813"/>
                <a:gd name="T45" fmla="*/ 5 h 869"/>
                <a:gd name="T46" fmla="*/ 8 w 813"/>
                <a:gd name="T47" fmla="*/ 5 h 869"/>
                <a:gd name="T48" fmla="*/ 8 w 813"/>
                <a:gd name="T49" fmla="*/ 5 h 869"/>
                <a:gd name="T50" fmla="*/ 8 w 813"/>
                <a:gd name="T51" fmla="*/ 5 h 869"/>
                <a:gd name="T52" fmla="*/ 8 w 813"/>
                <a:gd name="T53" fmla="*/ 5 h 869"/>
                <a:gd name="T54" fmla="*/ 8 w 813"/>
                <a:gd name="T55" fmla="*/ 5 h 869"/>
                <a:gd name="T56" fmla="*/ 8 w 813"/>
                <a:gd name="T57" fmla="*/ 5 h 869"/>
                <a:gd name="T58" fmla="*/ 8 w 813"/>
                <a:gd name="T59" fmla="*/ 5 h 869"/>
                <a:gd name="T60" fmla="*/ 8 w 813"/>
                <a:gd name="T61" fmla="*/ 5 h 869"/>
                <a:gd name="T62" fmla="*/ 8 w 813"/>
                <a:gd name="T63" fmla="*/ 5 h 869"/>
                <a:gd name="T64" fmla="*/ 8 w 813"/>
                <a:gd name="T65" fmla="*/ 5 h 869"/>
                <a:gd name="T66" fmla="*/ 8 w 813"/>
                <a:gd name="T67" fmla="*/ 5 h 869"/>
                <a:gd name="T68" fmla="*/ 8 w 813"/>
                <a:gd name="T69" fmla="*/ 5 h 869"/>
                <a:gd name="T70" fmla="*/ 8 w 813"/>
                <a:gd name="T71" fmla="*/ 5 h 869"/>
                <a:gd name="T72" fmla="*/ 8 w 813"/>
                <a:gd name="T73" fmla="*/ 5 h 869"/>
                <a:gd name="T74" fmla="*/ 8 w 813"/>
                <a:gd name="T75" fmla="*/ 5 h 869"/>
                <a:gd name="T76" fmla="*/ 8 w 813"/>
                <a:gd name="T77" fmla="*/ 5 h 869"/>
                <a:gd name="T78" fmla="*/ 8 w 813"/>
                <a:gd name="T79" fmla="*/ 5 h 869"/>
                <a:gd name="T80" fmla="*/ 8 w 813"/>
                <a:gd name="T81" fmla="*/ 5 h 869"/>
                <a:gd name="T82" fmla="*/ 8 w 813"/>
                <a:gd name="T83" fmla="*/ 4 h 869"/>
                <a:gd name="T84" fmla="*/ 8 w 813"/>
                <a:gd name="T85" fmla="*/ 5 h 869"/>
                <a:gd name="T86" fmla="*/ 8 w 813"/>
                <a:gd name="T87" fmla="*/ 5 h 869"/>
                <a:gd name="T88" fmla="*/ 8 w 813"/>
                <a:gd name="T89" fmla="*/ 5 h 869"/>
                <a:gd name="T90" fmla="*/ 8 w 813"/>
                <a:gd name="T91" fmla="*/ 5 h 869"/>
                <a:gd name="T92" fmla="*/ 8 w 813"/>
                <a:gd name="T93" fmla="*/ 5 h 869"/>
                <a:gd name="T94" fmla="*/ 8 w 813"/>
                <a:gd name="T95" fmla="*/ 5 h 8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13"/>
                <a:gd name="T145" fmla="*/ 0 h 869"/>
                <a:gd name="T146" fmla="*/ 813 w 813"/>
                <a:gd name="T147" fmla="*/ 869 h 8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13" h="869">
                  <a:moveTo>
                    <a:pt x="189" y="81"/>
                  </a:moveTo>
                  <a:lnTo>
                    <a:pt x="189" y="81"/>
                  </a:lnTo>
                  <a:lnTo>
                    <a:pt x="172" y="84"/>
                  </a:lnTo>
                  <a:lnTo>
                    <a:pt x="154" y="88"/>
                  </a:lnTo>
                  <a:lnTo>
                    <a:pt x="144" y="95"/>
                  </a:lnTo>
                  <a:lnTo>
                    <a:pt x="133" y="105"/>
                  </a:lnTo>
                  <a:lnTo>
                    <a:pt x="119" y="130"/>
                  </a:lnTo>
                  <a:lnTo>
                    <a:pt x="105" y="161"/>
                  </a:lnTo>
                  <a:lnTo>
                    <a:pt x="98" y="193"/>
                  </a:lnTo>
                  <a:lnTo>
                    <a:pt x="95" y="214"/>
                  </a:lnTo>
                  <a:lnTo>
                    <a:pt x="98" y="266"/>
                  </a:lnTo>
                  <a:lnTo>
                    <a:pt x="98" y="284"/>
                  </a:lnTo>
                  <a:lnTo>
                    <a:pt x="95" y="298"/>
                  </a:lnTo>
                  <a:lnTo>
                    <a:pt x="81" y="329"/>
                  </a:lnTo>
                  <a:lnTo>
                    <a:pt x="46" y="382"/>
                  </a:lnTo>
                  <a:lnTo>
                    <a:pt x="28" y="406"/>
                  </a:lnTo>
                  <a:lnTo>
                    <a:pt x="11" y="424"/>
                  </a:lnTo>
                  <a:lnTo>
                    <a:pt x="4" y="438"/>
                  </a:lnTo>
                  <a:lnTo>
                    <a:pt x="0" y="449"/>
                  </a:lnTo>
                  <a:lnTo>
                    <a:pt x="0" y="463"/>
                  </a:lnTo>
                  <a:lnTo>
                    <a:pt x="4" y="480"/>
                  </a:lnTo>
                  <a:lnTo>
                    <a:pt x="7" y="491"/>
                  </a:lnTo>
                  <a:lnTo>
                    <a:pt x="14" y="501"/>
                  </a:lnTo>
                  <a:lnTo>
                    <a:pt x="35" y="522"/>
                  </a:lnTo>
                  <a:lnTo>
                    <a:pt x="74" y="554"/>
                  </a:lnTo>
                  <a:lnTo>
                    <a:pt x="84" y="568"/>
                  </a:lnTo>
                  <a:lnTo>
                    <a:pt x="91" y="582"/>
                  </a:lnTo>
                  <a:lnTo>
                    <a:pt x="91" y="599"/>
                  </a:lnTo>
                  <a:lnTo>
                    <a:pt x="91" y="617"/>
                  </a:lnTo>
                  <a:lnTo>
                    <a:pt x="84" y="680"/>
                  </a:lnTo>
                  <a:lnTo>
                    <a:pt x="84" y="701"/>
                  </a:lnTo>
                  <a:lnTo>
                    <a:pt x="88" y="715"/>
                  </a:lnTo>
                  <a:lnTo>
                    <a:pt x="98" y="725"/>
                  </a:lnTo>
                  <a:lnTo>
                    <a:pt x="116" y="732"/>
                  </a:lnTo>
                  <a:lnTo>
                    <a:pt x="133" y="736"/>
                  </a:lnTo>
                  <a:lnTo>
                    <a:pt x="151" y="736"/>
                  </a:lnTo>
                  <a:lnTo>
                    <a:pt x="168" y="743"/>
                  </a:lnTo>
                  <a:lnTo>
                    <a:pt x="175" y="746"/>
                  </a:lnTo>
                  <a:lnTo>
                    <a:pt x="182" y="753"/>
                  </a:lnTo>
                  <a:lnTo>
                    <a:pt x="193" y="767"/>
                  </a:lnTo>
                  <a:lnTo>
                    <a:pt x="196" y="788"/>
                  </a:lnTo>
                  <a:lnTo>
                    <a:pt x="203" y="806"/>
                  </a:lnTo>
                  <a:lnTo>
                    <a:pt x="210" y="823"/>
                  </a:lnTo>
                  <a:lnTo>
                    <a:pt x="221" y="834"/>
                  </a:lnTo>
                  <a:lnTo>
                    <a:pt x="235" y="848"/>
                  </a:lnTo>
                  <a:lnTo>
                    <a:pt x="252" y="855"/>
                  </a:lnTo>
                  <a:lnTo>
                    <a:pt x="270" y="858"/>
                  </a:lnTo>
                  <a:lnTo>
                    <a:pt x="280" y="855"/>
                  </a:lnTo>
                  <a:lnTo>
                    <a:pt x="287" y="851"/>
                  </a:lnTo>
                  <a:lnTo>
                    <a:pt x="305" y="844"/>
                  </a:lnTo>
                  <a:lnTo>
                    <a:pt x="322" y="841"/>
                  </a:lnTo>
                  <a:lnTo>
                    <a:pt x="340" y="841"/>
                  </a:lnTo>
                  <a:lnTo>
                    <a:pt x="357" y="841"/>
                  </a:lnTo>
                  <a:lnTo>
                    <a:pt x="375" y="844"/>
                  </a:lnTo>
                  <a:lnTo>
                    <a:pt x="392" y="855"/>
                  </a:lnTo>
                  <a:lnTo>
                    <a:pt x="410" y="865"/>
                  </a:lnTo>
                  <a:lnTo>
                    <a:pt x="417" y="869"/>
                  </a:lnTo>
                  <a:lnTo>
                    <a:pt x="424" y="865"/>
                  </a:lnTo>
                  <a:lnTo>
                    <a:pt x="442" y="851"/>
                  </a:lnTo>
                  <a:lnTo>
                    <a:pt x="456" y="834"/>
                  </a:lnTo>
                  <a:lnTo>
                    <a:pt x="463" y="827"/>
                  </a:lnTo>
                  <a:lnTo>
                    <a:pt x="473" y="827"/>
                  </a:lnTo>
                  <a:lnTo>
                    <a:pt x="480" y="827"/>
                  </a:lnTo>
                  <a:lnTo>
                    <a:pt x="491" y="830"/>
                  </a:lnTo>
                  <a:lnTo>
                    <a:pt x="512" y="844"/>
                  </a:lnTo>
                  <a:lnTo>
                    <a:pt x="529" y="851"/>
                  </a:lnTo>
                  <a:lnTo>
                    <a:pt x="533" y="851"/>
                  </a:lnTo>
                  <a:lnTo>
                    <a:pt x="536" y="844"/>
                  </a:lnTo>
                  <a:lnTo>
                    <a:pt x="533" y="813"/>
                  </a:lnTo>
                  <a:lnTo>
                    <a:pt x="533" y="809"/>
                  </a:lnTo>
                  <a:lnTo>
                    <a:pt x="536" y="802"/>
                  </a:lnTo>
                  <a:lnTo>
                    <a:pt x="554" y="795"/>
                  </a:lnTo>
                  <a:lnTo>
                    <a:pt x="575" y="788"/>
                  </a:lnTo>
                  <a:lnTo>
                    <a:pt x="592" y="788"/>
                  </a:lnTo>
                  <a:lnTo>
                    <a:pt x="613" y="788"/>
                  </a:lnTo>
                  <a:lnTo>
                    <a:pt x="631" y="788"/>
                  </a:lnTo>
                  <a:lnTo>
                    <a:pt x="652" y="781"/>
                  </a:lnTo>
                  <a:lnTo>
                    <a:pt x="666" y="774"/>
                  </a:lnTo>
                  <a:lnTo>
                    <a:pt x="680" y="760"/>
                  </a:lnTo>
                  <a:lnTo>
                    <a:pt x="690" y="746"/>
                  </a:lnTo>
                  <a:lnTo>
                    <a:pt x="701" y="729"/>
                  </a:lnTo>
                  <a:lnTo>
                    <a:pt x="708" y="708"/>
                  </a:lnTo>
                  <a:lnTo>
                    <a:pt x="718" y="690"/>
                  </a:lnTo>
                  <a:lnTo>
                    <a:pt x="732" y="676"/>
                  </a:lnTo>
                  <a:lnTo>
                    <a:pt x="746" y="666"/>
                  </a:lnTo>
                  <a:lnTo>
                    <a:pt x="764" y="659"/>
                  </a:lnTo>
                  <a:lnTo>
                    <a:pt x="781" y="659"/>
                  </a:lnTo>
                  <a:lnTo>
                    <a:pt x="788" y="659"/>
                  </a:lnTo>
                  <a:lnTo>
                    <a:pt x="795" y="652"/>
                  </a:lnTo>
                  <a:lnTo>
                    <a:pt x="795" y="645"/>
                  </a:lnTo>
                  <a:lnTo>
                    <a:pt x="799" y="634"/>
                  </a:lnTo>
                  <a:lnTo>
                    <a:pt x="792" y="610"/>
                  </a:lnTo>
                  <a:lnTo>
                    <a:pt x="781" y="564"/>
                  </a:lnTo>
                  <a:lnTo>
                    <a:pt x="778" y="547"/>
                  </a:lnTo>
                  <a:lnTo>
                    <a:pt x="778" y="529"/>
                  </a:lnTo>
                  <a:lnTo>
                    <a:pt x="781" y="515"/>
                  </a:lnTo>
                  <a:lnTo>
                    <a:pt x="788" y="498"/>
                  </a:lnTo>
                  <a:lnTo>
                    <a:pt x="799" y="466"/>
                  </a:lnTo>
                  <a:lnTo>
                    <a:pt x="809" y="427"/>
                  </a:lnTo>
                  <a:lnTo>
                    <a:pt x="813" y="389"/>
                  </a:lnTo>
                  <a:lnTo>
                    <a:pt x="809" y="368"/>
                  </a:lnTo>
                  <a:lnTo>
                    <a:pt x="806" y="350"/>
                  </a:lnTo>
                  <a:lnTo>
                    <a:pt x="799" y="333"/>
                  </a:lnTo>
                  <a:lnTo>
                    <a:pt x="788" y="319"/>
                  </a:lnTo>
                  <a:lnTo>
                    <a:pt x="774" y="305"/>
                  </a:lnTo>
                  <a:lnTo>
                    <a:pt x="764" y="287"/>
                  </a:lnTo>
                  <a:lnTo>
                    <a:pt x="757" y="273"/>
                  </a:lnTo>
                  <a:lnTo>
                    <a:pt x="753" y="256"/>
                  </a:lnTo>
                  <a:lnTo>
                    <a:pt x="753" y="238"/>
                  </a:lnTo>
                  <a:lnTo>
                    <a:pt x="753" y="221"/>
                  </a:lnTo>
                  <a:lnTo>
                    <a:pt x="753" y="207"/>
                  </a:lnTo>
                  <a:lnTo>
                    <a:pt x="753" y="193"/>
                  </a:lnTo>
                  <a:lnTo>
                    <a:pt x="750" y="179"/>
                  </a:lnTo>
                  <a:lnTo>
                    <a:pt x="739" y="165"/>
                  </a:lnTo>
                  <a:lnTo>
                    <a:pt x="729" y="154"/>
                  </a:lnTo>
                  <a:lnTo>
                    <a:pt x="711" y="147"/>
                  </a:lnTo>
                  <a:lnTo>
                    <a:pt x="680" y="140"/>
                  </a:lnTo>
                  <a:lnTo>
                    <a:pt x="666" y="133"/>
                  </a:lnTo>
                  <a:lnTo>
                    <a:pt x="652" y="123"/>
                  </a:lnTo>
                  <a:lnTo>
                    <a:pt x="641" y="112"/>
                  </a:lnTo>
                  <a:lnTo>
                    <a:pt x="634" y="95"/>
                  </a:lnTo>
                  <a:lnTo>
                    <a:pt x="627" y="67"/>
                  </a:lnTo>
                  <a:lnTo>
                    <a:pt x="624" y="53"/>
                  </a:lnTo>
                  <a:lnTo>
                    <a:pt x="610" y="42"/>
                  </a:lnTo>
                  <a:lnTo>
                    <a:pt x="603" y="39"/>
                  </a:lnTo>
                  <a:lnTo>
                    <a:pt x="596" y="39"/>
                  </a:lnTo>
                  <a:lnTo>
                    <a:pt x="578" y="42"/>
                  </a:lnTo>
                  <a:lnTo>
                    <a:pt x="564" y="46"/>
                  </a:lnTo>
                  <a:lnTo>
                    <a:pt x="547" y="49"/>
                  </a:lnTo>
                  <a:lnTo>
                    <a:pt x="505" y="46"/>
                  </a:lnTo>
                  <a:lnTo>
                    <a:pt x="484" y="42"/>
                  </a:lnTo>
                  <a:lnTo>
                    <a:pt x="463" y="32"/>
                  </a:lnTo>
                  <a:lnTo>
                    <a:pt x="435" y="18"/>
                  </a:lnTo>
                  <a:lnTo>
                    <a:pt x="406" y="4"/>
                  </a:lnTo>
                  <a:lnTo>
                    <a:pt x="396" y="0"/>
                  </a:lnTo>
                  <a:lnTo>
                    <a:pt x="382" y="4"/>
                  </a:lnTo>
                  <a:lnTo>
                    <a:pt x="371" y="11"/>
                  </a:lnTo>
                  <a:lnTo>
                    <a:pt x="361" y="25"/>
                  </a:lnTo>
                  <a:lnTo>
                    <a:pt x="350" y="49"/>
                  </a:lnTo>
                  <a:lnTo>
                    <a:pt x="340" y="56"/>
                  </a:lnTo>
                  <a:lnTo>
                    <a:pt x="329" y="60"/>
                  </a:lnTo>
                  <a:lnTo>
                    <a:pt x="315" y="60"/>
                  </a:lnTo>
                  <a:lnTo>
                    <a:pt x="305" y="56"/>
                  </a:lnTo>
                  <a:lnTo>
                    <a:pt x="284" y="42"/>
                  </a:lnTo>
                  <a:lnTo>
                    <a:pt x="277" y="42"/>
                  </a:lnTo>
                  <a:lnTo>
                    <a:pt x="270" y="46"/>
                  </a:lnTo>
                  <a:lnTo>
                    <a:pt x="259" y="60"/>
                  </a:lnTo>
                  <a:lnTo>
                    <a:pt x="256" y="81"/>
                  </a:lnTo>
                  <a:lnTo>
                    <a:pt x="256" y="102"/>
                  </a:lnTo>
                  <a:lnTo>
                    <a:pt x="252" y="105"/>
                  </a:lnTo>
                  <a:lnTo>
                    <a:pt x="245" y="105"/>
                  </a:lnTo>
                  <a:lnTo>
                    <a:pt x="224" y="98"/>
                  </a:lnTo>
                  <a:lnTo>
                    <a:pt x="189" y="81"/>
                  </a:lnTo>
                  <a:close/>
                </a:path>
              </a:pathLst>
            </a:custGeom>
            <a:noFill/>
            <a:ln w="12700">
              <a:solidFill>
                <a:srgbClr val="97295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98406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b="1" dirty="0" smtClean="0">
                <a:solidFill>
                  <a:schemeClr val="bg2">
                    <a:lumMod val="50000"/>
                  </a:schemeClr>
                </a:solidFill>
              </a:rPr>
              <a:t>БРОНХИАЛЬНАЯ АСТМА</a:t>
            </a:r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quarter" idx="2"/>
          </p:nvPr>
        </p:nvSpPr>
        <p:spPr>
          <a:xfrm>
            <a:off x="205441" y="2204864"/>
            <a:ext cx="8964488" cy="4343400"/>
          </a:xfrm>
        </p:spPr>
        <p:txBody>
          <a:bodyPr>
            <a:normAutofit fontScale="85000" lnSpcReduction="20000"/>
          </a:bodyPr>
          <a:lstStyle/>
          <a:p>
            <a:pPr marL="0" indent="0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3600" b="1" dirty="0" smtClean="0">
                <a:solidFill>
                  <a:srgbClr val="000000"/>
                </a:solidFill>
              </a:rPr>
              <a:t>ВНУТРЕННИЕ</a:t>
            </a:r>
          </a:p>
          <a:p>
            <a:pPr marL="320040" indent="-320040" eaLnBrk="1" fontAlgn="auto" hangingPunct="1">
              <a:spcAft>
                <a:spcPts val="0"/>
              </a:spcAft>
              <a:buFont typeface="Wingdings"/>
              <a:buChar char=""/>
              <a:defRPr/>
            </a:pPr>
            <a:r>
              <a:rPr lang="ru-RU" sz="3600" b="1" dirty="0" smtClean="0">
                <a:solidFill>
                  <a:srgbClr val="000000"/>
                </a:solidFill>
              </a:rPr>
              <a:t>Наследственность</a:t>
            </a:r>
          </a:p>
          <a:p>
            <a:pPr marL="728663">
              <a:defRPr/>
            </a:pPr>
            <a:r>
              <a:rPr lang="ru-RU" sz="2600" b="1" dirty="0" smtClean="0">
                <a:solidFill>
                  <a:srgbClr val="000000"/>
                </a:solidFill>
              </a:rPr>
              <a:t>гены, предрасполагающие к </a:t>
            </a:r>
            <a:r>
              <a:rPr lang="ru-RU" sz="2600" b="1" dirty="0" err="1" smtClean="0">
                <a:solidFill>
                  <a:srgbClr val="000000"/>
                </a:solidFill>
              </a:rPr>
              <a:t>атопии</a:t>
            </a:r>
            <a:endParaRPr lang="ru-RU" sz="2600" b="1" dirty="0" smtClean="0">
              <a:solidFill>
                <a:srgbClr val="000000"/>
              </a:solidFill>
            </a:endParaRPr>
          </a:p>
          <a:p>
            <a:pPr marL="728663">
              <a:defRPr/>
            </a:pPr>
            <a:r>
              <a:rPr lang="ru-RU" sz="2600" b="1" dirty="0" smtClean="0">
                <a:solidFill>
                  <a:srgbClr val="000000"/>
                </a:solidFill>
              </a:rPr>
              <a:t>гены, предрасполагающие к бронхиальной гиперреактивности</a:t>
            </a:r>
          </a:p>
          <a:p>
            <a:pPr>
              <a:defRPr/>
            </a:pPr>
            <a:r>
              <a:rPr lang="ru-RU" sz="3600" b="1" dirty="0" smtClean="0">
                <a:solidFill>
                  <a:srgbClr val="000000"/>
                </a:solidFill>
              </a:rPr>
              <a:t>Ожирение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sz="2600" b="1" dirty="0" smtClean="0">
                <a:solidFill>
                  <a:srgbClr val="000000"/>
                </a:solidFill>
              </a:rPr>
              <a:t>(лептин может </a:t>
            </a:r>
            <a:r>
              <a:rPr lang="ru-RU" sz="2600" b="1" dirty="0">
                <a:solidFill>
                  <a:srgbClr val="000000"/>
                </a:solidFill>
              </a:rPr>
              <a:t>влиять на </a:t>
            </a:r>
            <a:r>
              <a:rPr lang="ru-RU" sz="2600" b="1" dirty="0" smtClean="0">
                <a:solidFill>
                  <a:srgbClr val="000000"/>
                </a:solidFill>
              </a:rPr>
              <a:t>функцию </a:t>
            </a:r>
            <a:r>
              <a:rPr lang="ru-RU" sz="2600" b="1" dirty="0">
                <a:solidFill>
                  <a:srgbClr val="000000"/>
                </a:solidFill>
              </a:rPr>
              <a:t>дыхательных путей и увеличивать вероятность </a:t>
            </a:r>
            <a:r>
              <a:rPr lang="ru-RU" sz="2600" b="1" dirty="0" smtClean="0">
                <a:solidFill>
                  <a:srgbClr val="000000"/>
                </a:solidFill>
              </a:rPr>
              <a:t>развития </a:t>
            </a:r>
            <a:r>
              <a:rPr lang="ru-RU" sz="2600" b="1" dirty="0">
                <a:solidFill>
                  <a:srgbClr val="000000"/>
                </a:solidFill>
              </a:rPr>
              <a:t>бронхиальной </a:t>
            </a:r>
            <a:r>
              <a:rPr lang="ru-RU" sz="2600" b="1" dirty="0" smtClean="0">
                <a:solidFill>
                  <a:srgbClr val="000000"/>
                </a:solidFill>
              </a:rPr>
              <a:t>астмы) </a:t>
            </a:r>
          </a:p>
          <a:p>
            <a:pPr>
              <a:defRPr/>
            </a:pPr>
            <a:r>
              <a:rPr lang="ru-RU" sz="3600" b="1" dirty="0" smtClean="0">
                <a:solidFill>
                  <a:srgbClr val="000000"/>
                </a:solidFill>
              </a:rPr>
              <a:t>Пол</a:t>
            </a:r>
            <a:r>
              <a:rPr lang="ru-RU" dirty="0" smtClean="0">
                <a:solidFill>
                  <a:srgbClr val="000000"/>
                </a:solidFill>
              </a:rPr>
              <a:t> </a:t>
            </a:r>
            <a:r>
              <a:rPr lang="ru-RU" b="1" dirty="0" smtClean="0">
                <a:solidFill>
                  <a:srgbClr val="000000"/>
                </a:solidFill>
              </a:rPr>
              <a:t>(м</a:t>
            </a:r>
            <a:r>
              <a:rPr lang="ru-RU" sz="2600" b="1" dirty="0" smtClean="0">
                <a:solidFill>
                  <a:srgbClr val="000000"/>
                </a:solidFill>
              </a:rPr>
              <a:t>ужской </a:t>
            </a:r>
            <a:r>
              <a:rPr lang="ru-RU" sz="2600" b="1" dirty="0">
                <a:solidFill>
                  <a:srgbClr val="000000"/>
                </a:solidFill>
              </a:rPr>
              <a:t>пол является фактором риска БА у детей. У детей в возрасте младше 14 лет распространенность БА почти в два раза выше у мальчиков, чем у </a:t>
            </a:r>
            <a:r>
              <a:rPr lang="ru-RU" sz="2600" b="1" dirty="0" smtClean="0">
                <a:solidFill>
                  <a:srgbClr val="000000"/>
                </a:solidFill>
              </a:rPr>
              <a:t>девочек. </a:t>
            </a:r>
            <a:r>
              <a:rPr lang="ru-RU" sz="2600" b="1" dirty="0">
                <a:solidFill>
                  <a:srgbClr val="000000"/>
                </a:solidFill>
              </a:rPr>
              <a:t>По мере взросления половые различия сглаживаются, и у взрослых распространенность БА у женщин превосходит распространенность у мужчин</a:t>
            </a:r>
            <a:r>
              <a:rPr lang="ru-RU" sz="2600" b="1" dirty="0" smtClean="0">
                <a:solidFill>
                  <a:srgbClr val="000000"/>
                </a:solidFill>
              </a:rPr>
              <a:t>.)</a:t>
            </a:r>
            <a:endParaRPr lang="ru-RU" b="1" dirty="0" smtClean="0"/>
          </a:p>
        </p:txBody>
      </p:sp>
      <p:sp>
        <p:nvSpPr>
          <p:cNvPr id="336900" name="Текст 4"/>
          <p:cNvSpPr>
            <a:spLocks noGrp="1"/>
          </p:cNvSpPr>
          <p:nvPr>
            <p:ph type="body" sz="quarter" idx="1"/>
          </p:nvPr>
        </p:nvSpPr>
        <p:spPr>
          <a:xfrm>
            <a:off x="2627784" y="1556793"/>
            <a:ext cx="3886200" cy="639763"/>
          </a:xfrm>
        </p:spPr>
        <p:txBody>
          <a:bodyPr/>
          <a:lstStyle/>
          <a:p>
            <a:pPr algn="ctr" eaLnBrk="1" hangingPunct="1"/>
            <a:r>
              <a:rPr lang="ru-RU" altLang="ru-RU" sz="2800" dirty="0" smtClean="0">
                <a:solidFill>
                  <a:schemeClr val="tx1"/>
                </a:solidFill>
              </a:rPr>
              <a:t>Факторы риска</a:t>
            </a:r>
            <a:endParaRPr lang="en-US" altLang="ru-RU" sz="28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245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Содержимое 2"/>
          <p:cNvSpPr>
            <a:spLocks noGrp="1"/>
          </p:cNvSpPr>
          <p:nvPr>
            <p:ph idx="1"/>
          </p:nvPr>
        </p:nvSpPr>
        <p:spPr>
          <a:xfrm>
            <a:off x="3152775" y="3048000"/>
            <a:ext cx="3476625" cy="838200"/>
          </a:xfrm>
        </p:spPr>
        <p:txBody>
          <a:bodyPr/>
          <a:lstStyle/>
          <a:p>
            <a:pPr algn="ctr" eaLnBrk="1" hangingPunct="1">
              <a:buFont typeface="Arial" pitchFamily="34" charset="0"/>
              <a:buNone/>
            </a:pPr>
            <a:r>
              <a:rPr lang="ru-RU" altLang="ru-RU" sz="24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осфолипиды клеточной мембраны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4762500" y="4048125"/>
            <a:ext cx="285750" cy="71437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9940" name="TextBox 4"/>
          <p:cNvSpPr txBox="1">
            <a:spLocks noChangeArrowheads="1"/>
          </p:cNvSpPr>
          <p:nvPr/>
        </p:nvSpPr>
        <p:spPr bwMode="auto">
          <a:xfrm>
            <a:off x="2590800" y="4167188"/>
            <a:ext cx="22907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Фосфолипаза </a:t>
            </a:r>
            <a:r>
              <a:rPr lang="en-US" altLang="ru-RU" sz="1800" b="1" i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L-A2 </a:t>
            </a:r>
            <a:endParaRPr lang="ru-RU" altLang="ru-RU" sz="1800" b="1" i="1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941" name="TextBox 5"/>
          <p:cNvSpPr txBox="1">
            <a:spLocks noChangeArrowheads="1"/>
          </p:cNvSpPr>
          <p:nvPr/>
        </p:nvSpPr>
        <p:spPr bwMode="auto">
          <a:xfrm>
            <a:off x="3048000" y="4762500"/>
            <a:ext cx="37147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рахидоновая кислота</a:t>
            </a:r>
          </a:p>
        </p:txBody>
      </p:sp>
      <p:sp>
        <p:nvSpPr>
          <p:cNvPr id="7" name="Стрелка вниз 6"/>
          <p:cNvSpPr/>
          <p:nvPr/>
        </p:nvSpPr>
        <p:spPr>
          <a:xfrm rot="1940550">
            <a:off x="3378200" y="5130800"/>
            <a:ext cx="268288" cy="7762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 rot="19551820">
            <a:off x="6022975" y="5105400"/>
            <a:ext cx="320675" cy="7747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39944" name="TextBox 9"/>
          <p:cNvSpPr txBox="1">
            <a:spLocks noChangeArrowheads="1"/>
          </p:cNvSpPr>
          <p:nvPr/>
        </p:nvSpPr>
        <p:spPr bwMode="auto">
          <a:xfrm>
            <a:off x="1690688" y="5119688"/>
            <a:ext cx="178593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ипоксигеназа</a:t>
            </a:r>
          </a:p>
        </p:txBody>
      </p:sp>
      <p:sp>
        <p:nvSpPr>
          <p:cNvPr id="39945" name="TextBox 10"/>
          <p:cNvSpPr txBox="1">
            <a:spLocks noChangeArrowheads="1"/>
          </p:cNvSpPr>
          <p:nvPr/>
        </p:nvSpPr>
        <p:spPr bwMode="auto">
          <a:xfrm>
            <a:off x="6262688" y="5048250"/>
            <a:ext cx="21431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иклоксигеназа</a:t>
            </a:r>
          </a:p>
        </p:txBody>
      </p:sp>
      <p:sp>
        <p:nvSpPr>
          <p:cNvPr id="12" name="Стрелка вниз 11"/>
          <p:cNvSpPr/>
          <p:nvPr/>
        </p:nvSpPr>
        <p:spPr>
          <a:xfrm>
            <a:off x="914400" y="2362200"/>
            <a:ext cx="71438" cy="3571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76375" y="5976938"/>
            <a:ext cx="2214563" cy="5000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i="1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йкотриены</a:t>
            </a:r>
            <a:endParaRPr lang="ru-RU" sz="2400" b="1" i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236" name="TextBox 13"/>
          <p:cNvSpPr txBox="1">
            <a:spLocks noChangeArrowheads="1"/>
          </p:cNvSpPr>
          <p:nvPr/>
        </p:nvSpPr>
        <p:spPr bwMode="auto">
          <a:xfrm>
            <a:off x="76200" y="1676400"/>
            <a:ext cx="17145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атогенный фактор</a:t>
            </a:r>
          </a:p>
        </p:txBody>
      </p:sp>
      <p:sp>
        <p:nvSpPr>
          <p:cNvPr id="39949" name="TextBox 14"/>
          <p:cNvSpPr txBox="1">
            <a:spLocks noChangeArrowheads="1"/>
          </p:cNvSpPr>
          <p:nvPr/>
        </p:nvSpPr>
        <p:spPr bwMode="auto">
          <a:xfrm>
            <a:off x="76200" y="4138613"/>
            <a:ext cx="17907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дукция цитокинов, </a:t>
            </a:r>
            <a:r>
              <a:rPr lang="ru-RU" altLang="ru-RU" sz="18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нтерлейкинов</a:t>
            </a:r>
            <a:endParaRPr lang="ru-RU" altLang="ru-RU" sz="1800" b="1" i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950" name="TextBox 15"/>
          <p:cNvSpPr txBox="1">
            <a:spLocks noChangeArrowheads="1"/>
          </p:cNvSpPr>
          <p:nvPr/>
        </p:nvSpPr>
        <p:spPr bwMode="auto">
          <a:xfrm>
            <a:off x="76200" y="2709863"/>
            <a:ext cx="180022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имфоциты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Эозинофилы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Нейтрофилы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8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учные клетки </a:t>
            </a:r>
          </a:p>
        </p:txBody>
      </p:sp>
      <p:sp>
        <p:nvSpPr>
          <p:cNvPr id="18" name="Стрелка вниз 17"/>
          <p:cNvSpPr/>
          <p:nvPr/>
        </p:nvSpPr>
        <p:spPr>
          <a:xfrm rot="16200000">
            <a:off x="2059782" y="3888581"/>
            <a:ext cx="114300" cy="9477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119813" y="5976938"/>
            <a:ext cx="2643187" cy="50006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тагландины</a:t>
            </a:r>
            <a:r>
              <a:rPr lang="ru-RU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2241" name="TextBox 19"/>
          <p:cNvSpPr txBox="1">
            <a:spLocks noChangeArrowheads="1"/>
          </p:cNvSpPr>
          <p:nvPr/>
        </p:nvSpPr>
        <p:spPr bwMode="auto">
          <a:xfrm>
            <a:off x="1752600" y="1619250"/>
            <a:ext cx="7315200" cy="1323439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Под воздействием любых </a:t>
            </a:r>
            <a:r>
              <a:rPr lang="ru-RU" altLang="ru-RU" sz="2000" b="1" i="1" dirty="0" err="1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провоспалительных</a:t>
            </a: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факторов в лейкоцитах активируются и высвобождаются </a:t>
            </a:r>
            <a:r>
              <a:rPr lang="ru-RU" altLang="ru-RU" sz="2000" b="1" i="1" dirty="0" err="1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лизосомальные</a:t>
            </a: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ферменты, вследствие чего начинает разрушаться мембрана клеток, состоящая из фосфолипидов</a:t>
            </a:r>
            <a:r>
              <a:rPr lang="ru-RU" alt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</p:txBody>
      </p:sp>
      <p:sp>
        <p:nvSpPr>
          <p:cNvPr id="52242" name="Заголовок 1"/>
          <p:cNvSpPr>
            <a:spLocks noGrp="1"/>
          </p:cNvSpPr>
          <p:nvPr>
            <p:ph type="title"/>
          </p:nvPr>
        </p:nvSpPr>
        <p:spPr>
          <a:xfrm>
            <a:off x="228600" y="169863"/>
            <a:ext cx="8915400" cy="1049337"/>
          </a:xfrm>
        </p:spPr>
        <p:txBody>
          <a:bodyPr/>
          <a:lstStyle/>
          <a:p>
            <a:pPr algn="ctr" eaLnBrk="1" hangingPunct="1"/>
            <a:r>
              <a:rPr lang="ru-RU" altLang="ru-RU" sz="2000" b="1" i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ЫБРОС МЕДИАТОРОВ ВОСПАЛЕНИЯ</a:t>
            </a:r>
          </a:p>
        </p:txBody>
      </p:sp>
      <p:sp>
        <p:nvSpPr>
          <p:cNvPr id="20" name="Стрелка вниз 19"/>
          <p:cNvSpPr/>
          <p:nvPr/>
        </p:nvSpPr>
        <p:spPr>
          <a:xfrm>
            <a:off x="919163" y="3857625"/>
            <a:ext cx="71437" cy="35718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0" y="3505200"/>
            <a:ext cx="1828800" cy="45720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914400" y="5867400"/>
            <a:ext cx="3352800" cy="76200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2514600" y="4038600"/>
            <a:ext cx="2286000" cy="60960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7656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99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399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39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12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9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99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39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6" grpId="0" build="p"/>
      <p:bldP spid="4" grpId="0" animBg="1"/>
      <p:bldP spid="39940" grpId="0"/>
      <p:bldP spid="39941" grpId="0"/>
      <p:bldP spid="7" grpId="0" animBg="1"/>
      <p:bldP spid="8" grpId="0" animBg="1"/>
      <p:bldP spid="39944" grpId="0"/>
      <p:bldP spid="39945" grpId="0"/>
      <p:bldP spid="12" grpId="0" animBg="1"/>
      <p:bldP spid="13" grpId="0" animBg="1"/>
      <p:bldP spid="39949" grpId="0"/>
      <p:bldP spid="39950" grpId="0"/>
      <p:bldP spid="18" grpId="0" animBg="1"/>
      <p:bldP spid="19" grpId="0" animBg="1"/>
      <p:bldP spid="20" grpId="0" animBg="1"/>
      <p:bldP spid="22" grpId="0" animBg="1"/>
      <p:bldP spid="23" grpId="0" animBg="1"/>
      <p:bldP spid="24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/>
          <a:lstStyle/>
          <a:p>
            <a:pPr eaLnBrk="1" hangingPunct="1"/>
            <a:r>
              <a:rPr lang="ru-RU" altLang="ru-RU" sz="24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ДИАТОРЫ ВОСПАЛЕНИЯ</a:t>
            </a:r>
            <a:endParaRPr lang="en-US" altLang="ru-RU" sz="2400" b="1" i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4275" name="TextBox 1"/>
          <p:cNvSpPr txBox="1">
            <a:spLocks noChangeArrowheads="1"/>
          </p:cNvSpPr>
          <p:nvPr/>
        </p:nvSpPr>
        <p:spPr bwMode="auto">
          <a:xfrm>
            <a:off x="304800" y="1620838"/>
            <a:ext cx="8686800" cy="1015663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В настоящее время известно более 100 различных медиаторов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участвующих в патогенезе Ба  и АР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i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и развитии сложной воспалительной реакции в дыхательных путях.</a:t>
            </a:r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152400" y="2590800"/>
            <a:ext cx="8839200" cy="1882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900">
                <a:solidFill>
                  <a:schemeClr val="tx1"/>
                </a:solidFill>
                <a:latin typeface="Tw Cen MT" pitchFamily="34" charset="0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Tw Cen MT" pitchFamily="34" charset="0"/>
              </a:defRPr>
            </a:lvl2pPr>
            <a:lvl3pPr marL="1143000">
              <a:defRPr sz="2300">
                <a:solidFill>
                  <a:schemeClr val="tx1"/>
                </a:solidFill>
                <a:latin typeface="Tw Cen MT" pitchFamily="34" charset="0"/>
              </a:defRPr>
            </a:lvl3pPr>
            <a:lvl4pPr marL="1600200">
              <a:defRPr sz="2000">
                <a:solidFill>
                  <a:schemeClr val="tx1"/>
                </a:solidFill>
                <a:latin typeface="Tw Cen MT" pitchFamily="34" charset="0"/>
              </a:defRPr>
            </a:lvl4pPr>
            <a:lvl5pPr marL="2057400">
              <a:defRPr sz="2000">
                <a:solidFill>
                  <a:schemeClr val="tx1"/>
                </a:solidFill>
                <a:latin typeface="Tw Cen MT" pitchFamily="34" charset="0"/>
              </a:defRPr>
            </a:lvl5pPr>
            <a:lvl6pPr marL="2514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6pPr>
            <a:lvl7pPr marL="29718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7pPr>
            <a:lvl8pPr marL="34290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8pPr>
            <a:lvl9pPr marL="38862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092A7"/>
              </a:buClr>
              <a:buSzPct val="65000"/>
              <a:buFont typeface="Wingdings" pitchFamily="2" charset="2"/>
              <a:buChar char=""/>
              <a:defRPr sz="2000">
                <a:solidFill>
                  <a:schemeClr val="tx1"/>
                </a:solidFill>
                <a:latin typeface="Tw Cen MT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ts val="1000"/>
              </a:spcAft>
            </a:pPr>
            <a:r>
              <a:rPr lang="ru-RU" altLang="ru-RU" sz="36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истеиниловые</a:t>
            </a:r>
            <a:r>
              <a:rPr lang="ru-RU" altLang="ru-RU" sz="36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36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ейкотриены</a:t>
            </a:r>
            <a:r>
              <a:rPr lang="ru-RU" altLang="ru-RU" sz="36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ts val="1000"/>
              </a:spcAft>
            </a:pPr>
            <a:r>
              <a:rPr lang="ru-RU" altLang="ru-RU" sz="24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Являются мощными </a:t>
            </a:r>
            <a:r>
              <a:rPr lang="ru-RU" altLang="ru-RU" sz="2400" b="1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ронхоконстрикторами</a:t>
            </a:r>
            <a:r>
              <a:rPr lang="ru-RU" altLang="ru-RU" sz="24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и медиаторами воспаления. Выделяются преимущественно тучными клетками и эозинофилами. 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28600" y="4581128"/>
            <a:ext cx="8839200" cy="19050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вид медиаторов, </a:t>
            </a:r>
          </a:p>
          <a:p>
            <a:pPr algn="ctr">
              <a:defRPr/>
            </a:pPr>
            <a:r>
              <a:rPr lang="ru-RU" sz="2800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гибирование которого приводит </a:t>
            </a:r>
          </a:p>
          <a:p>
            <a:pPr algn="ctr">
              <a:defRPr/>
            </a:pPr>
            <a:r>
              <a:rPr lang="ru-RU" sz="2800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улучшению функции легких </a:t>
            </a:r>
          </a:p>
          <a:p>
            <a:pPr algn="ctr">
              <a:defRPr/>
            </a:pPr>
            <a:r>
              <a:rPr lang="ru-RU" sz="2800" b="1" i="1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уменьшению выраженности симптомов БА и АР</a:t>
            </a:r>
            <a:endParaRPr lang="ru-RU" sz="3200" b="1" i="1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38130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altLang="ru-RU" sz="2400" b="1" dirty="0" err="1" smtClean="0">
                <a:latin typeface="Arial Black" panose="020B0A040201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Лейкотриены</a:t>
            </a:r>
            <a:r>
              <a:rPr lang="ru-RU" altLang="ru-RU" sz="2400" b="1" dirty="0" smtClean="0">
                <a:latin typeface="Arial Black" panose="020B0A040201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– активные медиаторы воспаления при БА </a:t>
            </a:r>
            <a:r>
              <a:rPr lang="ru-RU" altLang="ru-RU" sz="2400" b="1" baseline="-25000" dirty="0" smtClean="0">
                <a:latin typeface="Arial Black" panose="020B0A040201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ru-RU" sz="2400" b="1" dirty="0">
              <a:latin typeface="Arial Black" panose="020B0A04020102020204" pitchFamily="34" charset="0"/>
            </a:endParaRPr>
          </a:p>
        </p:txBody>
      </p:sp>
      <p:pic>
        <p:nvPicPr>
          <p:cNvPr id="32" name="Объект 31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128478" y="3737052"/>
            <a:ext cx="887045" cy="242337"/>
          </a:xfrm>
          <a:prstGeom prst="rect">
            <a:avLst/>
          </a:prstGeom>
        </p:spPr>
      </p:pic>
      <p:grpSp>
        <p:nvGrpSpPr>
          <p:cNvPr id="4" name="Group 92"/>
          <p:cNvGrpSpPr>
            <a:grpSpLocks/>
          </p:cNvGrpSpPr>
          <p:nvPr/>
        </p:nvGrpSpPr>
        <p:grpSpPr bwMode="auto">
          <a:xfrm>
            <a:off x="696924" y="2475991"/>
            <a:ext cx="531019" cy="558404"/>
            <a:chOff x="3299" y="1030"/>
            <a:chExt cx="446" cy="469"/>
          </a:xfrm>
        </p:grpSpPr>
        <p:sp>
          <p:nvSpPr>
            <p:cNvPr id="5" name="Freeform 93"/>
            <p:cNvSpPr>
              <a:spLocks/>
            </p:cNvSpPr>
            <p:nvPr/>
          </p:nvSpPr>
          <p:spPr bwMode="auto">
            <a:xfrm>
              <a:off x="3299" y="1130"/>
              <a:ext cx="374" cy="369"/>
            </a:xfrm>
            <a:custGeom>
              <a:avLst/>
              <a:gdLst>
                <a:gd name="T0" fmla="*/ 312 w 486"/>
                <a:gd name="T1" fmla="*/ 0 h 421"/>
                <a:gd name="T2" fmla="*/ 238 w 486"/>
                <a:gd name="T3" fmla="*/ 3 h 421"/>
                <a:gd name="T4" fmla="*/ 173 w 486"/>
                <a:gd name="T5" fmla="*/ 14 h 421"/>
                <a:gd name="T6" fmla="*/ 133 w 486"/>
                <a:gd name="T7" fmla="*/ 29 h 421"/>
                <a:gd name="T8" fmla="*/ 101 w 486"/>
                <a:gd name="T9" fmla="*/ 52 h 421"/>
                <a:gd name="T10" fmla="*/ 66 w 486"/>
                <a:gd name="T11" fmla="*/ 86 h 421"/>
                <a:gd name="T12" fmla="*/ 38 w 486"/>
                <a:gd name="T13" fmla="*/ 117 h 421"/>
                <a:gd name="T14" fmla="*/ 22 w 486"/>
                <a:gd name="T15" fmla="*/ 147 h 421"/>
                <a:gd name="T16" fmla="*/ 12 w 486"/>
                <a:gd name="T17" fmla="*/ 192 h 421"/>
                <a:gd name="T18" fmla="*/ 2 w 486"/>
                <a:gd name="T19" fmla="*/ 245 h 421"/>
                <a:gd name="T20" fmla="*/ 2 w 486"/>
                <a:gd name="T21" fmla="*/ 292 h 421"/>
                <a:gd name="T22" fmla="*/ 12 w 486"/>
                <a:gd name="T23" fmla="*/ 322 h 421"/>
                <a:gd name="T24" fmla="*/ 30 w 486"/>
                <a:gd name="T25" fmla="*/ 351 h 421"/>
                <a:gd name="T26" fmla="*/ 57 w 486"/>
                <a:gd name="T27" fmla="*/ 374 h 421"/>
                <a:gd name="T28" fmla="*/ 121 w 486"/>
                <a:gd name="T29" fmla="*/ 401 h 421"/>
                <a:gd name="T30" fmla="*/ 187 w 486"/>
                <a:gd name="T31" fmla="*/ 419 h 421"/>
                <a:gd name="T32" fmla="*/ 235 w 486"/>
                <a:gd name="T33" fmla="*/ 421 h 421"/>
                <a:gd name="T34" fmla="*/ 280 w 486"/>
                <a:gd name="T35" fmla="*/ 417 h 421"/>
                <a:gd name="T36" fmla="*/ 324 w 486"/>
                <a:gd name="T37" fmla="*/ 398 h 421"/>
                <a:gd name="T38" fmla="*/ 363 w 486"/>
                <a:gd name="T39" fmla="*/ 367 h 421"/>
                <a:gd name="T40" fmla="*/ 387 w 486"/>
                <a:gd name="T41" fmla="*/ 333 h 421"/>
                <a:gd name="T42" fmla="*/ 413 w 486"/>
                <a:gd name="T43" fmla="*/ 290 h 421"/>
                <a:gd name="T44" fmla="*/ 429 w 486"/>
                <a:gd name="T45" fmla="*/ 241 h 421"/>
                <a:gd name="T46" fmla="*/ 438 w 486"/>
                <a:gd name="T47" fmla="*/ 216 h 421"/>
                <a:gd name="T48" fmla="*/ 447 w 486"/>
                <a:gd name="T49" fmla="*/ 205 h 421"/>
                <a:gd name="T50" fmla="*/ 461 w 486"/>
                <a:gd name="T51" fmla="*/ 198 h 421"/>
                <a:gd name="T52" fmla="*/ 474 w 486"/>
                <a:gd name="T53" fmla="*/ 184 h 421"/>
                <a:gd name="T54" fmla="*/ 484 w 486"/>
                <a:gd name="T55" fmla="*/ 162 h 421"/>
                <a:gd name="T56" fmla="*/ 486 w 486"/>
                <a:gd name="T57" fmla="*/ 133 h 421"/>
                <a:gd name="T58" fmla="*/ 476 w 486"/>
                <a:gd name="T59" fmla="*/ 102 h 421"/>
                <a:gd name="T60" fmla="*/ 452 w 486"/>
                <a:gd name="T61" fmla="*/ 70 h 421"/>
                <a:gd name="T62" fmla="*/ 413 w 486"/>
                <a:gd name="T63" fmla="*/ 39 h 421"/>
                <a:gd name="T64" fmla="*/ 351 w 486"/>
                <a:gd name="T65" fmla="*/ 12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6" h="421">
                  <a:moveTo>
                    <a:pt x="312" y="0"/>
                  </a:moveTo>
                  <a:lnTo>
                    <a:pt x="312" y="0"/>
                  </a:lnTo>
                  <a:lnTo>
                    <a:pt x="290" y="0"/>
                  </a:lnTo>
                  <a:lnTo>
                    <a:pt x="238" y="3"/>
                  </a:lnTo>
                  <a:lnTo>
                    <a:pt x="205" y="7"/>
                  </a:lnTo>
                  <a:lnTo>
                    <a:pt x="173" y="14"/>
                  </a:lnTo>
                  <a:lnTo>
                    <a:pt x="146" y="23"/>
                  </a:lnTo>
                  <a:lnTo>
                    <a:pt x="133" y="29"/>
                  </a:lnTo>
                  <a:lnTo>
                    <a:pt x="121" y="37"/>
                  </a:lnTo>
                  <a:lnTo>
                    <a:pt x="101" y="52"/>
                  </a:lnTo>
                  <a:lnTo>
                    <a:pt x="82" y="68"/>
                  </a:lnTo>
                  <a:lnTo>
                    <a:pt x="66" y="86"/>
                  </a:lnTo>
                  <a:lnTo>
                    <a:pt x="52" y="102"/>
                  </a:lnTo>
                  <a:lnTo>
                    <a:pt x="38" y="117"/>
                  </a:lnTo>
                  <a:lnTo>
                    <a:pt x="30" y="133"/>
                  </a:lnTo>
                  <a:lnTo>
                    <a:pt x="22" y="147"/>
                  </a:lnTo>
                  <a:lnTo>
                    <a:pt x="20" y="158"/>
                  </a:lnTo>
                  <a:lnTo>
                    <a:pt x="12" y="192"/>
                  </a:lnTo>
                  <a:lnTo>
                    <a:pt x="4" y="216"/>
                  </a:lnTo>
                  <a:lnTo>
                    <a:pt x="2" y="245"/>
                  </a:lnTo>
                  <a:lnTo>
                    <a:pt x="0" y="276"/>
                  </a:lnTo>
                  <a:lnTo>
                    <a:pt x="2" y="292"/>
                  </a:lnTo>
                  <a:lnTo>
                    <a:pt x="6" y="309"/>
                  </a:lnTo>
                  <a:lnTo>
                    <a:pt x="12" y="322"/>
                  </a:lnTo>
                  <a:lnTo>
                    <a:pt x="20" y="337"/>
                  </a:lnTo>
                  <a:lnTo>
                    <a:pt x="30" y="351"/>
                  </a:lnTo>
                  <a:lnTo>
                    <a:pt x="43" y="364"/>
                  </a:lnTo>
                  <a:lnTo>
                    <a:pt x="57" y="374"/>
                  </a:lnTo>
                  <a:lnTo>
                    <a:pt x="85" y="387"/>
                  </a:lnTo>
                  <a:lnTo>
                    <a:pt x="121" y="401"/>
                  </a:lnTo>
                  <a:lnTo>
                    <a:pt x="164" y="414"/>
                  </a:lnTo>
                  <a:lnTo>
                    <a:pt x="187" y="419"/>
                  </a:lnTo>
                  <a:lnTo>
                    <a:pt x="210" y="421"/>
                  </a:lnTo>
                  <a:lnTo>
                    <a:pt x="235" y="421"/>
                  </a:lnTo>
                  <a:lnTo>
                    <a:pt x="258" y="421"/>
                  </a:lnTo>
                  <a:lnTo>
                    <a:pt x="280" y="417"/>
                  </a:lnTo>
                  <a:lnTo>
                    <a:pt x="303" y="407"/>
                  </a:lnTo>
                  <a:lnTo>
                    <a:pt x="324" y="398"/>
                  </a:lnTo>
                  <a:lnTo>
                    <a:pt x="345" y="382"/>
                  </a:lnTo>
                  <a:lnTo>
                    <a:pt x="363" y="367"/>
                  </a:lnTo>
                  <a:lnTo>
                    <a:pt x="377" y="349"/>
                  </a:lnTo>
                  <a:lnTo>
                    <a:pt x="387" y="333"/>
                  </a:lnTo>
                  <a:lnTo>
                    <a:pt x="399" y="317"/>
                  </a:lnTo>
                  <a:lnTo>
                    <a:pt x="413" y="290"/>
                  </a:lnTo>
                  <a:lnTo>
                    <a:pt x="422" y="264"/>
                  </a:lnTo>
                  <a:lnTo>
                    <a:pt x="429" y="241"/>
                  </a:lnTo>
                  <a:lnTo>
                    <a:pt x="433" y="223"/>
                  </a:lnTo>
                  <a:lnTo>
                    <a:pt x="438" y="216"/>
                  </a:lnTo>
                  <a:lnTo>
                    <a:pt x="443" y="212"/>
                  </a:lnTo>
                  <a:lnTo>
                    <a:pt x="447" y="205"/>
                  </a:lnTo>
                  <a:lnTo>
                    <a:pt x="454" y="203"/>
                  </a:lnTo>
                  <a:lnTo>
                    <a:pt x="461" y="198"/>
                  </a:lnTo>
                  <a:lnTo>
                    <a:pt x="470" y="192"/>
                  </a:lnTo>
                  <a:lnTo>
                    <a:pt x="474" y="184"/>
                  </a:lnTo>
                  <a:lnTo>
                    <a:pt x="482" y="174"/>
                  </a:lnTo>
                  <a:lnTo>
                    <a:pt x="484" y="162"/>
                  </a:lnTo>
                  <a:lnTo>
                    <a:pt x="486" y="149"/>
                  </a:lnTo>
                  <a:lnTo>
                    <a:pt x="486" y="133"/>
                  </a:lnTo>
                  <a:lnTo>
                    <a:pt x="484" y="117"/>
                  </a:lnTo>
                  <a:lnTo>
                    <a:pt x="476" y="102"/>
                  </a:lnTo>
                  <a:lnTo>
                    <a:pt x="465" y="86"/>
                  </a:lnTo>
                  <a:lnTo>
                    <a:pt x="452" y="70"/>
                  </a:lnTo>
                  <a:lnTo>
                    <a:pt x="435" y="54"/>
                  </a:lnTo>
                  <a:lnTo>
                    <a:pt x="413" y="39"/>
                  </a:lnTo>
                  <a:lnTo>
                    <a:pt x="385" y="25"/>
                  </a:lnTo>
                  <a:lnTo>
                    <a:pt x="351" y="12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F993BC"/>
            </a:solidFill>
            <a:ln w="6350">
              <a:solidFill>
                <a:srgbClr val="EA003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6" name="Freeform 94"/>
            <p:cNvSpPr>
              <a:spLocks/>
            </p:cNvSpPr>
            <p:nvPr/>
          </p:nvSpPr>
          <p:spPr bwMode="auto">
            <a:xfrm>
              <a:off x="3565" y="1216"/>
              <a:ext cx="20" cy="25"/>
            </a:xfrm>
            <a:custGeom>
              <a:avLst/>
              <a:gdLst>
                <a:gd name="T0" fmla="*/ 26 w 26"/>
                <a:gd name="T1" fmla="*/ 13 h 27"/>
                <a:gd name="T2" fmla="*/ 26 w 26"/>
                <a:gd name="T3" fmla="*/ 13 h 27"/>
                <a:gd name="T4" fmla="*/ 26 w 26"/>
                <a:gd name="T5" fmla="*/ 18 h 27"/>
                <a:gd name="T6" fmla="*/ 22 w 26"/>
                <a:gd name="T7" fmla="*/ 22 h 27"/>
                <a:gd name="T8" fmla="*/ 18 w 26"/>
                <a:gd name="T9" fmla="*/ 27 h 27"/>
                <a:gd name="T10" fmla="*/ 12 w 26"/>
                <a:gd name="T11" fmla="*/ 27 h 27"/>
                <a:gd name="T12" fmla="*/ 8 w 26"/>
                <a:gd name="T13" fmla="*/ 27 h 27"/>
                <a:gd name="T14" fmla="*/ 4 w 26"/>
                <a:gd name="T15" fmla="*/ 22 h 27"/>
                <a:gd name="T16" fmla="*/ 0 w 26"/>
                <a:gd name="T17" fmla="*/ 18 h 27"/>
                <a:gd name="T18" fmla="*/ 0 w 26"/>
                <a:gd name="T19" fmla="*/ 13 h 27"/>
                <a:gd name="T20" fmla="*/ 0 w 26"/>
                <a:gd name="T21" fmla="*/ 8 h 27"/>
                <a:gd name="T22" fmla="*/ 4 w 26"/>
                <a:gd name="T23" fmla="*/ 4 h 27"/>
                <a:gd name="T24" fmla="*/ 8 w 26"/>
                <a:gd name="T25" fmla="*/ 0 h 27"/>
                <a:gd name="T26" fmla="*/ 12 w 26"/>
                <a:gd name="T27" fmla="*/ 0 h 27"/>
                <a:gd name="T28" fmla="*/ 18 w 26"/>
                <a:gd name="T29" fmla="*/ 0 h 27"/>
                <a:gd name="T30" fmla="*/ 22 w 26"/>
                <a:gd name="T31" fmla="*/ 4 h 27"/>
                <a:gd name="T32" fmla="*/ 26 w 26"/>
                <a:gd name="T33" fmla="*/ 8 h 27"/>
                <a:gd name="T34" fmla="*/ 26 w 26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6" h="27">
                  <a:moveTo>
                    <a:pt x="26" y="13"/>
                  </a:moveTo>
                  <a:lnTo>
                    <a:pt x="26" y="13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18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6" y="8"/>
                  </a:lnTo>
                  <a:lnTo>
                    <a:pt x="26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7" name="Freeform 95"/>
            <p:cNvSpPr>
              <a:spLocks/>
            </p:cNvSpPr>
            <p:nvPr/>
          </p:nvSpPr>
          <p:spPr bwMode="auto">
            <a:xfrm>
              <a:off x="3619" y="1260"/>
              <a:ext cx="20" cy="23"/>
            </a:xfrm>
            <a:custGeom>
              <a:avLst/>
              <a:gdLst>
                <a:gd name="T0" fmla="*/ 27 w 27"/>
                <a:gd name="T1" fmla="*/ 14 h 28"/>
                <a:gd name="T2" fmla="*/ 27 w 27"/>
                <a:gd name="T3" fmla="*/ 14 h 28"/>
                <a:gd name="T4" fmla="*/ 27 w 27"/>
                <a:gd name="T5" fmla="*/ 18 h 28"/>
                <a:gd name="T6" fmla="*/ 23 w 27"/>
                <a:gd name="T7" fmla="*/ 24 h 28"/>
                <a:gd name="T8" fmla="*/ 18 w 27"/>
                <a:gd name="T9" fmla="*/ 28 h 28"/>
                <a:gd name="T10" fmla="*/ 13 w 27"/>
                <a:gd name="T11" fmla="*/ 28 h 28"/>
                <a:gd name="T12" fmla="*/ 9 w 27"/>
                <a:gd name="T13" fmla="*/ 28 h 28"/>
                <a:gd name="T14" fmla="*/ 4 w 27"/>
                <a:gd name="T15" fmla="*/ 24 h 28"/>
                <a:gd name="T16" fmla="*/ 0 w 27"/>
                <a:gd name="T17" fmla="*/ 18 h 28"/>
                <a:gd name="T18" fmla="*/ 0 w 27"/>
                <a:gd name="T19" fmla="*/ 14 h 28"/>
                <a:gd name="T20" fmla="*/ 0 w 27"/>
                <a:gd name="T21" fmla="*/ 10 h 28"/>
                <a:gd name="T22" fmla="*/ 4 w 27"/>
                <a:gd name="T23" fmla="*/ 4 h 28"/>
                <a:gd name="T24" fmla="*/ 9 w 27"/>
                <a:gd name="T25" fmla="*/ 0 h 28"/>
                <a:gd name="T26" fmla="*/ 13 w 27"/>
                <a:gd name="T27" fmla="*/ 0 h 28"/>
                <a:gd name="T28" fmla="*/ 18 w 27"/>
                <a:gd name="T29" fmla="*/ 0 h 28"/>
                <a:gd name="T30" fmla="*/ 23 w 27"/>
                <a:gd name="T31" fmla="*/ 4 h 28"/>
                <a:gd name="T32" fmla="*/ 27 w 27"/>
                <a:gd name="T33" fmla="*/ 10 h 28"/>
                <a:gd name="T34" fmla="*/ 27 w 27"/>
                <a:gd name="T35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8">
                  <a:moveTo>
                    <a:pt x="27" y="14"/>
                  </a:moveTo>
                  <a:lnTo>
                    <a:pt x="27" y="14"/>
                  </a:lnTo>
                  <a:lnTo>
                    <a:pt x="27" y="18"/>
                  </a:lnTo>
                  <a:lnTo>
                    <a:pt x="23" y="24"/>
                  </a:lnTo>
                  <a:lnTo>
                    <a:pt x="18" y="28"/>
                  </a:lnTo>
                  <a:lnTo>
                    <a:pt x="13" y="28"/>
                  </a:lnTo>
                  <a:lnTo>
                    <a:pt x="9" y="28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10"/>
                  </a:lnTo>
                  <a:lnTo>
                    <a:pt x="27" y="14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96"/>
            <p:cNvSpPr>
              <a:spLocks/>
            </p:cNvSpPr>
            <p:nvPr/>
          </p:nvSpPr>
          <p:spPr bwMode="auto">
            <a:xfrm>
              <a:off x="3570" y="1271"/>
              <a:ext cx="21" cy="22"/>
            </a:xfrm>
            <a:custGeom>
              <a:avLst/>
              <a:gdLst>
                <a:gd name="T0" fmla="*/ 28 w 28"/>
                <a:gd name="T1" fmla="*/ 13 h 27"/>
                <a:gd name="T2" fmla="*/ 28 w 28"/>
                <a:gd name="T3" fmla="*/ 13 h 27"/>
                <a:gd name="T4" fmla="*/ 28 w 28"/>
                <a:gd name="T5" fmla="*/ 18 h 27"/>
                <a:gd name="T6" fmla="*/ 23 w 28"/>
                <a:gd name="T7" fmla="*/ 22 h 27"/>
                <a:gd name="T8" fmla="*/ 18 w 28"/>
                <a:gd name="T9" fmla="*/ 27 h 27"/>
                <a:gd name="T10" fmla="*/ 14 w 28"/>
                <a:gd name="T11" fmla="*/ 27 h 27"/>
                <a:gd name="T12" fmla="*/ 10 w 28"/>
                <a:gd name="T13" fmla="*/ 27 h 27"/>
                <a:gd name="T14" fmla="*/ 4 w 28"/>
                <a:gd name="T15" fmla="*/ 22 h 27"/>
                <a:gd name="T16" fmla="*/ 0 w 28"/>
                <a:gd name="T17" fmla="*/ 18 h 27"/>
                <a:gd name="T18" fmla="*/ 0 w 28"/>
                <a:gd name="T19" fmla="*/ 13 h 27"/>
                <a:gd name="T20" fmla="*/ 0 w 28"/>
                <a:gd name="T21" fmla="*/ 8 h 27"/>
                <a:gd name="T22" fmla="*/ 4 w 28"/>
                <a:gd name="T23" fmla="*/ 4 h 27"/>
                <a:gd name="T24" fmla="*/ 10 w 28"/>
                <a:gd name="T25" fmla="*/ 0 h 27"/>
                <a:gd name="T26" fmla="*/ 14 w 28"/>
                <a:gd name="T27" fmla="*/ 0 h 27"/>
                <a:gd name="T28" fmla="*/ 18 w 28"/>
                <a:gd name="T29" fmla="*/ 0 h 27"/>
                <a:gd name="T30" fmla="*/ 23 w 28"/>
                <a:gd name="T31" fmla="*/ 4 h 27"/>
                <a:gd name="T32" fmla="*/ 28 w 28"/>
                <a:gd name="T33" fmla="*/ 8 h 27"/>
                <a:gd name="T34" fmla="*/ 28 w 28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7">
                  <a:moveTo>
                    <a:pt x="28" y="13"/>
                  </a:moveTo>
                  <a:lnTo>
                    <a:pt x="28" y="13"/>
                  </a:lnTo>
                  <a:lnTo>
                    <a:pt x="28" y="18"/>
                  </a:lnTo>
                  <a:lnTo>
                    <a:pt x="23" y="22"/>
                  </a:lnTo>
                  <a:lnTo>
                    <a:pt x="18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8" y="8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97"/>
            <p:cNvSpPr>
              <a:spLocks/>
            </p:cNvSpPr>
            <p:nvPr/>
          </p:nvSpPr>
          <p:spPr bwMode="auto">
            <a:xfrm>
              <a:off x="3513" y="1276"/>
              <a:ext cx="20" cy="24"/>
            </a:xfrm>
            <a:custGeom>
              <a:avLst/>
              <a:gdLst>
                <a:gd name="T0" fmla="*/ 27 w 27"/>
                <a:gd name="T1" fmla="*/ 14 h 28"/>
                <a:gd name="T2" fmla="*/ 27 w 27"/>
                <a:gd name="T3" fmla="*/ 14 h 28"/>
                <a:gd name="T4" fmla="*/ 27 w 27"/>
                <a:gd name="T5" fmla="*/ 18 h 28"/>
                <a:gd name="T6" fmla="*/ 23 w 27"/>
                <a:gd name="T7" fmla="*/ 24 h 28"/>
                <a:gd name="T8" fmla="*/ 18 w 27"/>
                <a:gd name="T9" fmla="*/ 28 h 28"/>
                <a:gd name="T10" fmla="*/ 13 w 27"/>
                <a:gd name="T11" fmla="*/ 28 h 28"/>
                <a:gd name="T12" fmla="*/ 9 w 27"/>
                <a:gd name="T13" fmla="*/ 28 h 28"/>
                <a:gd name="T14" fmla="*/ 4 w 27"/>
                <a:gd name="T15" fmla="*/ 24 h 28"/>
                <a:gd name="T16" fmla="*/ 0 w 27"/>
                <a:gd name="T17" fmla="*/ 18 h 28"/>
                <a:gd name="T18" fmla="*/ 0 w 27"/>
                <a:gd name="T19" fmla="*/ 14 h 28"/>
                <a:gd name="T20" fmla="*/ 0 w 27"/>
                <a:gd name="T21" fmla="*/ 10 h 28"/>
                <a:gd name="T22" fmla="*/ 4 w 27"/>
                <a:gd name="T23" fmla="*/ 4 h 28"/>
                <a:gd name="T24" fmla="*/ 9 w 27"/>
                <a:gd name="T25" fmla="*/ 0 h 28"/>
                <a:gd name="T26" fmla="*/ 13 w 27"/>
                <a:gd name="T27" fmla="*/ 0 h 28"/>
                <a:gd name="T28" fmla="*/ 18 w 27"/>
                <a:gd name="T29" fmla="*/ 0 h 28"/>
                <a:gd name="T30" fmla="*/ 23 w 27"/>
                <a:gd name="T31" fmla="*/ 4 h 28"/>
                <a:gd name="T32" fmla="*/ 27 w 27"/>
                <a:gd name="T33" fmla="*/ 10 h 28"/>
                <a:gd name="T34" fmla="*/ 27 w 27"/>
                <a:gd name="T35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8">
                  <a:moveTo>
                    <a:pt x="27" y="14"/>
                  </a:moveTo>
                  <a:lnTo>
                    <a:pt x="27" y="14"/>
                  </a:lnTo>
                  <a:lnTo>
                    <a:pt x="27" y="18"/>
                  </a:lnTo>
                  <a:lnTo>
                    <a:pt x="23" y="24"/>
                  </a:lnTo>
                  <a:lnTo>
                    <a:pt x="18" y="28"/>
                  </a:lnTo>
                  <a:lnTo>
                    <a:pt x="13" y="28"/>
                  </a:lnTo>
                  <a:lnTo>
                    <a:pt x="9" y="28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10"/>
                  </a:lnTo>
                  <a:lnTo>
                    <a:pt x="27" y="14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98"/>
            <p:cNvSpPr>
              <a:spLocks/>
            </p:cNvSpPr>
            <p:nvPr/>
          </p:nvSpPr>
          <p:spPr bwMode="auto">
            <a:xfrm>
              <a:off x="3505" y="1318"/>
              <a:ext cx="22" cy="23"/>
            </a:xfrm>
            <a:custGeom>
              <a:avLst/>
              <a:gdLst>
                <a:gd name="T0" fmla="*/ 28 w 28"/>
                <a:gd name="T1" fmla="*/ 13 h 27"/>
                <a:gd name="T2" fmla="*/ 28 w 28"/>
                <a:gd name="T3" fmla="*/ 13 h 27"/>
                <a:gd name="T4" fmla="*/ 28 w 28"/>
                <a:gd name="T5" fmla="*/ 19 h 27"/>
                <a:gd name="T6" fmla="*/ 24 w 28"/>
                <a:gd name="T7" fmla="*/ 23 h 27"/>
                <a:gd name="T8" fmla="*/ 19 w 28"/>
                <a:gd name="T9" fmla="*/ 27 h 27"/>
                <a:gd name="T10" fmla="*/ 14 w 28"/>
                <a:gd name="T11" fmla="*/ 27 h 27"/>
                <a:gd name="T12" fmla="*/ 10 w 28"/>
                <a:gd name="T13" fmla="*/ 27 h 27"/>
                <a:gd name="T14" fmla="*/ 5 w 28"/>
                <a:gd name="T15" fmla="*/ 23 h 27"/>
                <a:gd name="T16" fmla="*/ 0 w 28"/>
                <a:gd name="T17" fmla="*/ 19 h 27"/>
                <a:gd name="T18" fmla="*/ 0 w 28"/>
                <a:gd name="T19" fmla="*/ 13 h 27"/>
                <a:gd name="T20" fmla="*/ 0 w 28"/>
                <a:gd name="T21" fmla="*/ 9 h 27"/>
                <a:gd name="T22" fmla="*/ 5 w 28"/>
                <a:gd name="T23" fmla="*/ 5 h 27"/>
                <a:gd name="T24" fmla="*/ 10 w 28"/>
                <a:gd name="T25" fmla="*/ 0 h 27"/>
                <a:gd name="T26" fmla="*/ 14 w 28"/>
                <a:gd name="T27" fmla="*/ 0 h 27"/>
                <a:gd name="T28" fmla="*/ 19 w 28"/>
                <a:gd name="T29" fmla="*/ 0 h 27"/>
                <a:gd name="T30" fmla="*/ 24 w 28"/>
                <a:gd name="T31" fmla="*/ 5 h 27"/>
                <a:gd name="T32" fmla="*/ 28 w 28"/>
                <a:gd name="T33" fmla="*/ 9 h 27"/>
                <a:gd name="T34" fmla="*/ 28 w 28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7">
                  <a:moveTo>
                    <a:pt x="28" y="13"/>
                  </a:moveTo>
                  <a:lnTo>
                    <a:pt x="28" y="13"/>
                  </a:lnTo>
                  <a:lnTo>
                    <a:pt x="28" y="19"/>
                  </a:lnTo>
                  <a:lnTo>
                    <a:pt x="24" y="23"/>
                  </a:lnTo>
                  <a:lnTo>
                    <a:pt x="19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5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5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24" y="5"/>
                  </a:lnTo>
                  <a:lnTo>
                    <a:pt x="28" y="9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1" name="Freeform 99"/>
            <p:cNvSpPr>
              <a:spLocks/>
            </p:cNvSpPr>
            <p:nvPr/>
          </p:nvSpPr>
          <p:spPr bwMode="auto">
            <a:xfrm>
              <a:off x="3545" y="1327"/>
              <a:ext cx="22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2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8 w 27"/>
                <a:gd name="T13" fmla="*/ 27 h 27"/>
                <a:gd name="T14" fmla="*/ 4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4 h 27"/>
                <a:gd name="T24" fmla="*/ 8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2 w 27"/>
                <a:gd name="T31" fmla="*/ 4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2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100"/>
            <p:cNvSpPr>
              <a:spLocks/>
            </p:cNvSpPr>
            <p:nvPr/>
          </p:nvSpPr>
          <p:spPr bwMode="auto">
            <a:xfrm>
              <a:off x="3521" y="1374"/>
              <a:ext cx="21" cy="25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2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8 w 27"/>
                <a:gd name="T13" fmla="*/ 27 h 27"/>
                <a:gd name="T14" fmla="*/ 4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4 h 27"/>
                <a:gd name="T24" fmla="*/ 8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2 w 27"/>
                <a:gd name="T31" fmla="*/ 4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2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101"/>
            <p:cNvSpPr>
              <a:spLocks/>
            </p:cNvSpPr>
            <p:nvPr/>
          </p:nvSpPr>
          <p:spPr bwMode="auto">
            <a:xfrm>
              <a:off x="3447" y="1364"/>
              <a:ext cx="21" cy="24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3 w 27"/>
                <a:gd name="T7" fmla="*/ 22 h 27"/>
                <a:gd name="T8" fmla="*/ 18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4 w 27"/>
                <a:gd name="T15" fmla="*/ 22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8 h 27"/>
                <a:gd name="T22" fmla="*/ 4 w 27"/>
                <a:gd name="T23" fmla="*/ 4 h 27"/>
                <a:gd name="T24" fmla="*/ 9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3 w 27"/>
                <a:gd name="T31" fmla="*/ 4 h 27"/>
                <a:gd name="T32" fmla="*/ 27 w 27"/>
                <a:gd name="T33" fmla="*/ 8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3" y="22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8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102"/>
            <p:cNvSpPr>
              <a:spLocks/>
            </p:cNvSpPr>
            <p:nvPr/>
          </p:nvSpPr>
          <p:spPr bwMode="auto">
            <a:xfrm>
              <a:off x="3458" y="1320"/>
              <a:ext cx="21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9 h 27"/>
                <a:gd name="T6" fmla="*/ 23 w 27"/>
                <a:gd name="T7" fmla="*/ 23 h 27"/>
                <a:gd name="T8" fmla="*/ 19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5 w 27"/>
                <a:gd name="T15" fmla="*/ 23 h 27"/>
                <a:gd name="T16" fmla="*/ 0 w 27"/>
                <a:gd name="T17" fmla="*/ 19 h 27"/>
                <a:gd name="T18" fmla="*/ 0 w 27"/>
                <a:gd name="T19" fmla="*/ 13 h 27"/>
                <a:gd name="T20" fmla="*/ 0 w 27"/>
                <a:gd name="T21" fmla="*/ 9 h 27"/>
                <a:gd name="T22" fmla="*/ 5 w 27"/>
                <a:gd name="T23" fmla="*/ 5 h 27"/>
                <a:gd name="T24" fmla="*/ 9 w 27"/>
                <a:gd name="T25" fmla="*/ 0 h 27"/>
                <a:gd name="T26" fmla="*/ 13 w 27"/>
                <a:gd name="T27" fmla="*/ 0 h 27"/>
                <a:gd name="T28" fmla="*/ 19 w 27"/>
                <a:gd name="T29" fmla="*/ 0 h 27"/>
                <a:gd name="T30" fmla="*/ 23 w 27"/>
                <a:gd name="T31" fmla="*/ 5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3"/>
                  </a:lnTo>
                  <a:lnTo>
                    <a:pt x="19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5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5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5" name="Freeform 103"/>
            <p:cNvSpPr>
              <a:spLocks/>
            </p:cNvSpPr>
            <p:nvPr/>
          </p:nvSpPr>
          <p:spPr bwMode="auto">
            <a:xfrm>
              <a:off x="3485" y="1422"/>
              <a:ext cx="22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2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8 w 27"/>
                <a:gd name="T13" fmla="*/ 27 h 27"/>
                <a:gd name="T14" fmla="*/ 4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4 h 27"/>
                <a:gd name="T24" fmla="*/ 8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2 w 27"/>
                <a:gd name="T31" fmla="*/ 4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2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04"/>
            <p:cNvSpPr>
              <a:spLocks/>
            </p:cNvSpPr>
            <p:nvPr/>
          </p:nvSpPr>
          <p:spPr bwMode="auto">
            <a:xfrm>
              <a:off x="3425" y="1429"/>
              <a:ext cx="22" cy="23"/>
            </a:xfrm>
            <a:custGeom>
              <a:avLst/>
              <a:gdLst>
                <a:gd name="T0" fmla="*/ 28 w 28"/>
                <a:gd name="T1" fmla="*/ 12 h 26"/>
                <a:gd name="T2" fmla="*/ 28 w 28"/>
                <a:gd name="T3" fmla="*/ 12 h 26"/>
                <a:gd name="T4" fmla="*/ 28 w 28"/>
                <a:gd name="T5" fmla="*/ 18 h 26"/>
                <a:gd name="T6" fmla="*/ 23 w 28"/>
                <a:gd name="T7" fmla="*/ 22 h 26"/>
                <a:gd name="T8" fmla="*/ 18 w 28"/>
                <a:gd name="T9" fmla="*/ 26 h 26"/>
                <a:gd name="T10" fmla="*/ 14 w 28"/>
                <a:gd name="T11" fmla="*/ 26 h 26"/>
                <a:gd name="T12" fmla="*/ 9 w 28"/>
                <a:gd name="T13" fmla="*/ 26 h 26"/>
                <a:gd name="T14" fmla="*/ 4 w 28"/>
                <a:gd name="T15" fmla="*/ 22 h 26"/>
                <a:gd name="T16" fmla="*/ 0 w 28"/>
                <a:gd name="T17" fmla="*/ 18 h 26"/>
                <a:gd name="T18" fmla="*/ 0 w 28"/>
                <a:gd name="T19" fmla="*/ 12 h 26"/>
                <a:gd name="T20" fmla="*/ 0 w 28"/>
                <a:gd name="T21" fmla="*/ 8 h 26"/>
                <a:gd name="T22" fmla="*/ 4 w 28"/>
                <a:gd name="T23" fmla="*/ 4 h 26"/>
                <a:gd name="T24" fmla="*/ 9 w 28"/>
                <a:gd name="T25" fmla="*/ 0 h 26"/>
                <a:gd name="T26" fmla="*/ 14 w 28"/>
                <a:gd name="T27" fmla="*/ 0 h 26"/>
                <a:gd name="T28" fmla="*/ 18 w 28"/>
                <a:gd name="T29" fmla="*/ 0 h 26"/>
                <a:gd name="T30" fmla="*/ 23 w 28"/>
                <a:gd name="T31" fmla="*/ 4 h 26"/>
                <a:gd name="T32" fmla="*/ 28 w 28"/>
                <a:gd name="T33" fmla="*/ 8 h 26"/>
                <a:gd name="T34" fmla="*/ 28 w 28"/>
                <a:gd name="T35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6">
                  <a:moveTo>
                    <a:pt x="28" y="12"/>
                  </a:moveTo>
                  <a:lnTo>
                    <a:pt x="28" y="12"/>
                  </a:lnTo>
                  <a:lnTo>
                    <a:pt x="28" y="18"/>
                  </a:lnTo>
                  <a:lnTo>
                    <a:pt x="23" y="22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9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8" y="8"/>
                  </a:lnTo>
                  <a:lnTo>
                    <a:pt x="28" y="12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05"/>
            <p:cNvSpPr>
              <a:spLocks/>
            </p:cNvSpPr>
            <p:nvPr/>
          </p:nvSpPr>
          <p:spPr bwMode="auto">
            <a:xfrm>
              <a:off x="3407" y="1399"/>
              <a:ext cx="20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9 h 27"/>
                <a:gd name="T6" fmla="*/ 23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4 w 27"/>
                <a:gd name="T15" fmla="*/ 23 h 27"/>
                <a:gd name="T16" fmla="*/ 0 w 27"/>
                <a:gd name="T17" fmla="*/ 19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5 h 27"/>
                <a:gd name="T24" fmla="*/ 9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3 w 27"/>
                <a:gd name="T31" fmla="*/ 5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4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5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06"/>
            <p:cNvSpPr>
              <a:spLocks/>
            </p:cNvSpPr>
            <p:nvPr/>
          </p:nvSpPr>
          <p:spPr bwMode="auto">
            <a:xfrm>
              <a:off x="3576" y="1385"/>
              <a:ext cx="20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9 h 27"/>
                <a:gd name="T6" fmla="*/ 23 w 27"/>
                <a:gd name="T7" fmla="*/ 23 h 27"/>
                <a:gd name="T8" fmla="*/ 19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5 w 27"/>
                <a:gd name="T15" fmla="*/ 23 h 27"/>
                <a:gd name="T16" fmla="*/ 0 w 27"/>
                <a:gd name="T17" fmla="*/ 19 h 27"/>
                <a:gd name="T18" fmla="*/ 0 w 27"/>
                <a:gd name="T19" fmla="*/ 13 h 27"/>
                <a:gd name="T20" fmla="*/ 0 w 27"/>
                <a:gd name="T21" fmla="*/ 9 h 27"/>
                <a:gd name="T22" fmla="*/ 5 w 27"/>
                <a:gd name="T23" fmla="*/ 5 h 27"/>
                <a:gd name="T24" fmla="*/ 9 w 27"/>
                <a:gd name="T25" fmla="*/ 0 h 27"/>
                <a:gd name="T26" fmla="*/ 13 w 27"/>
                <a:gd name="T27" fmla="*/ 0 h 27"/>
                <a:gd name="T28" fmla="*/ 19 w 27"/>
                <a:gd name="T29" fmla="*/ 0 h 27"/>
                <a:gd name="T30" fmla="*/ 23 w 27"/>
                <a:gd name="T31" fmla="*/ 5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9"/>
                  </a:lnTo>
                  <a:lnTo>
                    <a:pt x="23" y="23"/>
                  </a:lnTo>
                  <a:lnTo>
                    <a:pt x="19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5" y="23"/>
                  </a:lnTo>
                  <a:lnTo>
                    <a:pt x="0" y="19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5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19" name="Freeform 107"/>
            <p:cNvSpPr>
              <a:spLocks/>
            </p:cNvSpPr>
            <p:nvPr/>
          </p:nvSpPr>
          <p:spPr bwMode="auto">
            <a:xfrm>
              <a:off x="3534" y="1429"/>
              <a:ext cx="22" cy="23"/>
            </a:xfrm>
            <a:custGeom>
              <a:avLst/>
              <a:gdLst>
                <a:gd name="T0" fmla="*/ 28 w 28"/>
                <a:gd name="T1" fmla="*/ 12 h 26"/>
                <a:gd name="T2" fmla="*/ 28 w 28"/>
                <a:gd name="T3" fmla="*/ 12 h 26"/>
                <a:gd name="T4" fmla="*/ 28 w 28"/>
                <a:gd name="T5" fmla="*/ 18 h 26"/>
                <a:gd name="T6" fmla="*/ 23 w 28"/>
                <a:gd name="T7" fmla="*/ 22 h 26"/>
                <a:gd name="T8" fmla="*/ 18 w 28"/>
                <a:gd name="T9" fmla="*/ 26 h 26"/>
                <a:gd name="T10" fmla="*/ 14 w 28"/>
                <a:gd name="T11" fmla="*/ 26 h 26"/>
                <a:gd name="T12" fmla="*/ 10 w 28"/>
                <a:gd name="T13" fmla="*/ 26 h 26"/>
                <a:gd name="T14" fmla="*/ 4 w 28"/>
                <a:gd name="T15" fmla="*/ 22 h 26"/>
                <a:gd name="T16" fmla="*/ 0 w 28"/>
                <a:gd name="T17" fmla="*/ 18 h 26"/>
                <a:gd name="T18" fmla="*/ 0 w 28"/>
                <a:gd name="T19" fmla="*/ 12 h 26"/>
                <a:gd name="T20" fmla="*/ 0 w 28"/>
                <a:gd name="T21" fmla="*/ 8 h 26"/>
                <a:gd name="T22" fmla="*/ 4 w 28"/>
                <a:gd name="T23" fmla="*/ 4 h 26"/>
                <a:gd name="T24" fmla="*/ 10 w 28"/>
                <a:gd name="T25" fmla="*/ 0 h 26"/>
                <a:gd name="T26" fmla="*/ 14 w 28"/>
                <a:gd name="T27" fmla="*/ 0 h 26"/>
                <a:gd name="T28" fmla="*/ 18 w 28"/>
                <a:gd name="T29" fmla="*/ 0 h 26"/>
                <a:gd name="T30" fmla="*/ 23 w 28"/>
                <a:gd name="T31" fmla="*/ 4 h 26"/>
                <a:gd name="T32" fmla="*/ 28 w 28"/>
                <a:gd name="T33" fmla="*/ 8 h 26"/>
                <a:gd name="T34" fmla="*/ 28 w 28"/>
                <a:gd name="T35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6">
                  <a:moveTo>
                    <a:pt x="28" y="12"/>
                  </a:moveTo>
                  <a:lnTo>
                    <a:pt x="28" y="12"/>
                  </a:lnTo>
                  <a:lnTo>
                    <a:pt x="28" y="18"/>
                  </a:lnTo>
                  <a:lnTo>
                    <a:pt x="23" y="22"/>
                  </a:lnTo>
                  <a:lnTo>
                    <a:pt x="18" y="26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8" y="8"/>
                  </a:lnTo>
                  <a:lnTo>
                    <a:pt x="28" y="12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0" name="Freeform 108"/>
            <p:cNvSpPr>
              <a:spLocks/>
            </p:cNvSpPr>
            <p:nvPr/>
          </p:nvSpPr>
          <p:spPr bwMode="auto">
            <a:xfrm>
              <a:off x="3456" y="1457"/>
              <a:ext cx="22" cy="24"/>
            </a:xfrm>
            <a:custGeom>
              <a:avLst/>
              <a:gdLst>
                <a:gd name="T0" fmla="*/ 27 w 27"/>
                <a:gd name="T1" fmla="*/ 14 h 28"/>
                <a:gd name="T2" fmla="*/ 27 w 27"/>
                <a:gd name="T3" fmla="*/ 14 h 28"/>
                <a:gd name="T4" fmla="*/ 27 w 27"/>
                <a:gd name="T5" fmla="*/ 18 h 28"/>
                <a:gd name="T6" fmla="*/ 23 w 27"/>
                <a:gd name="T7" fmla="*/ 23 h 28"/>
                <a:gd name="T8" fmla="*/ 18 w 27"/>
                <a:gd name="T9" fmla="*/ 28 h 28"/>
                <a:gd name="T10" fmla="*/ 13 w 27"/>
                <a:gd name="T11" fmla="*/ 28 h 28"/>
                <a:gd name="T12" fmla="*/ 9 w 27"/>
                <a:gd name="T13" fmla="*/ 28 h 28"/>
                <a:gd name="T14" fmla="*/ 5 w 27"/>
                <a:gd name="T15" fmla="*/ 23 h 28"/>
                <a:gd name="T16" fmla="*/ 0 w 27"/>
                <a:gd name="T17" fmla="*/ 18 h 28"/>
                <a:gd name="T18" fmla="*/ 0 w 27"/>
                <a:gd name="T19" fmla="*/ 14 h 28"/>
                <a:gd name="T20" fmla="*/ 0 w 27"/>
                <a:gd name="T21" fmla="*/ 9 h 28"/>
                <a:gd name="T22" fmla="*/ 5 w 27"/>
                <a:gd name="T23" fmla="*/ 4 h 28"/>
                <a:gd name="T24" fmla="*/ 9 w 27"/>
                <a:gd name="T25" fmla="*/ 0 h 28"/>
                <a:gd name="T26" fmla="*/ 13 w 27"/>
                <a:gd name="T27" fmla="*/ 0 h 28"/>
                <a:gd name="T28" fmla="*/ 18 w 27"/>
                <a:gd name="T29" fmla="*/ 0 h 28"/>
                <a:gd name="T30" fmla="*/ 23 w 27"/>
                <a:gd name="T31" fmla="*/ 4 h 28"/>
                <a:gd name="T32" fmla="*/ 27 w 27"/>
                <a:gd name="T33" fmla="*/ 9 h 28"/>
                <a:gd name="T34" fmla="*/ 27 w 27"/>
                <a:gd name="T35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8">
                  <a:moveTo>
                    <a:pt x="27" y="14"/>
                  </a:moveTo>
                  <a:lnTo>
                    <a:pt x="27" y="14"/>
                  </a:lnTo>
                  <a:lnTo>
                    <a:pt x="27" y="18"/>
                  </a:lnTo>
                  <a:lnTo>
                    <a:pt x="23" y="23"/>
                  </a:lnTo>
                  <a:lnTo>
                    <a:pt x="18" y="28"/>
                  </a:lnTo>
                  <a:lnTo>
                    <a:pt x="13" y="28"/>
                  </a:lnTo>
                  <a:lnTo>
                    <a:pt x="9" y="28"/>
                  </a:lnTo>
                  <a:lnTo>
                    <a:pt x="5" y="23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5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9"/>
                  </a:lnTo>
                  <a:lnTo>
                    <a:pt x="27" y="14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1" name="Freeform 109"/>
            <p:cNvSpPr>
              <a:spLocks/>
            </p:cNvSpPr>
            <p:nvPr/>
          </p:nvSpPr>
          <p:spPr bwMode="auto">
            <a:xfrm>
              <a:off x="3485" y="1364"/>
              <a:ext cx="22" cy="24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2 w 27"/>
                <a:gd name="T7" fmla="*/ 22 h 27"/>
                <a:gd name="T8" fmla="*/ 18 w 27"/>
                <a:gd name="T9" fmla="*/ 27 h 27"/>
                <a:gd name="T10" fmla="*/ 13 w 27"/>
                <a:gd name="T11" fmla="*/ 27 h 27"/>
                <a:gd name="T12" fmla="*/ 8 w 27"/>
                <a:gd name="T13" fmla="*/ 27 h 27"/>
                <a:gd name="T14" fmla="*/ 4 w 27"/>
                <a:gd name="T15" fmla="*/ 22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8 h 27"/>
                <a:gd name="T22" fmla="*/ 4 w 27"/>
                <a:gd name="T23" fmla="*/ 4 h 27"/>
                <a:gd name="T24" fmla="*/ 8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2 w 27"/>
                <a:gd name="T31" fmla="*/ 4 h 27"/>
                <a:gd name="T32" fmla="*/ 27 w 27"/>
                <a:gd name="T33" fmla="*/ 8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8" y="27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8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110"/>
            <p:cNvSpPr>
              <a:spLocks/>
            </p:cNvSpPr>
            <p:nvPr/>
          </p:nvSpPr>
          <p:spPr bwMode="auto">
            <a:xfrm>
              <a:off x="3595" y="1304"/>
              <a:ext cx="20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3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4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5 h 27"/>
                <a:gd name="T24" fmla="*/ 9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3 w 27"/>
                <a:gd name="T31" fmla="*/ 5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3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5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5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111"/>
            <p:cNvSpPr>
              <a:spLocks/>
            </p:cNvSpPr>
            <p:nvPr/>
          </p:nvSpPr>
          <p:spPr bwMode="auto">
            <a:xfrm>
              <a:off x="3610" y="1204"/>
              <a:ext cx="21" cy="24"/>
            </a:xfrm>
            <a:custGeom>
              <a:avLst/>
              <a:gdLst>
                <a:gd name="T0" fmla="*/ 28 w 28"/>
                <a:gd name="T1" fmla="*/ 13 h 27"/>
                <a:gd name="T2" fmla="*/ 28 w 28"/>
                <a:gd name="T3" fmla="*/ 13 h 27"/>
                <a:gd name="T4" fmla="*/ 28 w 28"/>
                <a:gd name="T5" fmla="*/ 18 h 27"/>
                <a:gd name="T6" fmla="*/ 24 w 28"/>
                <a:gd name="T7" fmla="*/ 22 h 27"/>
                <a:gd name="T8" fmla="*/ 19 w 28"/>
                <a:gd name="T9" fmla="*/ 27 h 27"/>
                <a:gd name="T10" fmla="*/ 14 w 28"/>
                <a:gd name="T11" fmla="*/ 27 h 27"/>
                <a:gd name="T12" fmla="*/ 10 w 28"/>
                <a:gd name="T13" fmla="*/ 27 h 27"/>
                <a:gd name="T14" fmla="*/ 5 w 28"/>
                <a:gd name="T15" fmla="*/ 22 h 27"/>
                <a:gd name="T16" fmla="*/ 0 w 28"/>
                <a:gd name="T17" fmla="*/ 18 h 27"/>
                <a:gd name="T18" fmla="*/ 0 w 28"/>
                <a:gd name="T19" fmla="*/ 13 h 27"/>
                <a:gd name="T20" fmla="*/ 0 w 28"/>
                <a:gd name="T21" fmla="*/ 9 h 27"/>
                <a:gd name="T22" fmla="*/ 5 w 28"/>
                <a:gd name="T23" fmla="*/ 4 h 27"/>
                <a:gd name="T24" fmla="*/ 10 w 28"/>
                <a:gd name="T25" fmla="*/ 0 h 27"/>
                <a:gd name="T26" fmla="*/ 14 w 28"/>
                <a:gd name="T27" fmla="*/ 0 h 27"/>
                <a:gd name="T28" fmla="*/ 19 w 28"/>
                <a:gd name="T29" fmla="*/ 0 h 27"/>
                <a:gd name="T30" fmla="*/ 24 w 28"/>
                <a:gd name="T31" fmla="*/ 4 h 27"/>
                <a:gd name="T32" fmla="*/ 28 w 28"/>
                <a:gd name="T33" fmla="*/ 9 h 27"/>
                <a:gd name="T34" fmla="*/ 28 w 28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7">
                  <a:moveTo>
                    <a:pt x="28" y="13"/>
                  </a:moveTo>
                  <a:lnTo>
                    <a:pt x="28" y="13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5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24" y="4"/>
                  </a:lnTo>
                  <a:lnTo>
                    <a:pt x="28" y="9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4" name="Freeform 112"/>
            <p:cNvSpPr>
              <a:spLocks/>
            </p:cNvSpPr>
            <p:nvPr/>
          </p:nvSpPr>
          <p:spPr bwMode="auto">
            <a:xfrm>
              <a:off x="3556" y="1160"/>
              <a:ext cx="22" cy="24"/>
            </a:xfrm>
            <a:custGeom>
              <a:avLst/>
              <a:gdLst>
                <a:gd name="T0" fmla="*/ 28 w 28"/>
                <a:gd name="T1" fmla="*/ 14 h 28"/>
                <a:gd name="T2" fmla="*/ 28 w 28"/>
                <a:gd name="T3" fmla="*/ 14 h 28"/>
                <a:gd name="T4" fmla="*/ 28 w 28"/>
                <a:gd name="T5" fmla="*/ 18 h 28"/>
                <a:gd name="T6" fmla="*/ 23 w 28"/>
                <a:gd name="T7" fmla="*/ 23 h 28"/>
                <a:gd name="T8" fmla="*/ 18 w 28"/>
                <a:gd name="T9" fmla="*/ 28 h 28"/>
                <a:gd name="T10" fmla="*/ 14 w 28"/>
                <a:gd name="T11" fmla="*/ 28 h 28"/>
                <a:gd name="T12" fmla="*/ 9 w 28"/>
                <a:gd name="T13" fmla="*/ 28 h 28"/>
                <a:gd name="T14" fmla="*/ 4 w 28"/>
                <a:gd name="T15" fmla="*/ 23 h 28"/>
                <a:gd name="T16" fmla="*/ 0 w 28"/>
                <a:gd name="T17" fmla="*/ 18 h 28"/>
                <a:gd name="T18" fmla="*/ 0 w 28"/>
                <a:gd name="T19" fmla="*/ 14 h 28"/>
                <a:gd name="T20" fmla="*/ 0 w 28"/>
                <a:gd name="T21" fmla="*/ 9 h 28"/>
                <a:gd name="T22" fmla="*/ 4 w 28"/>
                <a:gd name="T23" fmla="*/ 4 h 28"/>
                <a:gd name="T24" fmla="*/ 9 w 28"/>
                <a:gd name="T25" fmla="*/ 0 h 28"/>
                <a:gd name="T26" fmla="*/ 14 w 28"/>
                <a:gd name="T27" fmla="*/ 0 h 28"/>
                <a:gd name="T28" fmla="*/ 18 w 28"/>
                <a:gd name="T29" fmla="*/ 0 h 28"/>
                <a:gd name="T30" fmla="*/ 23 w 28"/>
                <a:gd name="T31" fmla="*/ 4 h 28"/>
                <a:gd name="T32" fmla="*/ 28 w 28"/>
                <a:gd name="T33" fmla="*/ 9 h 28"/>
                <a:gd name="T34" fmla="*/ 28 w 28"/>
                <a:gd name="T35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8">
                  <a:moveTo>
                    <a:pt x="28" y="14"/>
                  </a:moveTo>
                  <a:lnTo>
                    <a:pt x="28" y="14"/>
                  </a:lnTo>
                  <a:lnTo>
                    <a:pt x="28" y="18"/>
                  </a:lnTo>
                  <a:lnTo>
                    <a:pt x="23" y="23"/>
                  </a:lnTo>
                  <a:lnTo>
                    <a:pt x="18" y="28"/>
                  </a:lnTo>
                  <a:lnTo>
                    <a:pt x="14" y="28"/>
                  </a:lnTo>
                  <a:lnTo>
                    <a:pt x="9" y="28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4"/>
                  </a:lnTo>
                  <a:lnTo>
                    <a:pt x="0" y="9"/>
                  </a:lnTo>
                  <a:lnTo>
                    <a:pt x="4" y="4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8" y="9"/>
                  </a:lnTo>
                  <a:lnTo>
                    <a:pt x="28" y="14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5" name="Freeform 113"/>
            <p:cNvSpPr>
              <a:spLocks/>
            </p:cNvSpPr>
            <p:nvPr/>
          </p:nvSpPr>
          <p:spPr bwMode="auto">
            <a:xfrm>
              <a:off x="3365" y="1422"/>
              <a:ext cx="22" cy="23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3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4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4 w 27"/>
                <a:gd name="T23" fmla="*/ 4 h 27"/>
                <a:gd name="T24" fmla="*/ 9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3 w 27"/>
                <a:gd name="T31" fmla="*/ 4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3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4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6" name="Freeform 114"/>
            <p:cNvSpPr>
              <a:spLocks/>
            </p:cNvSpPr>
            <p:nvPr/>
          </p:nvSpPr>
          <p:spPr bwMode="auto">
            <a:xfrm>
              <a:off x="3376" y="1213"/>
              <a:ext cx="154" cy="126"/>
            </a:xfrm>
            <a:custGeom>
              <a:avLst/>
              <a:gdLst>
                <a:gd name="T0" fmla="*/ 200 w 200"/>
                <a:gd name="T1" fmla="*/ 70 h 143"/>
                <a:gd name="T2" fmla="*/ 200 w 200"/>
                <a:gd name="T3" fmla="*/ 70 h 143"/>
                <a:gd name="T4" fmla="*/ 200 w 200"/>
                <a:gd name="T5" fmla="*/ 79 h 143"/>
                <a:gd name="T6" fmla="*/ 198 w 200"/>
                <a:gd name="T7" fmla="*/ 85 h 143"/>
                <a:gd name="T8" fmla="*/ 196 w 200"/>
                <a:gd name="T9" fmla="*/ 93 h 143"/>
                <a:gd name="T10" fmla="*/ 192 w 200"/>
                <a:gd name="T11" fmla="*/ 99 h 143"/>
                <a:gd name="T12" fmla="*/ 189 w 200"/>
                <a:gd name="T13" fmla="*/ 106 h 143"/>
                <a:gd name="T14" fmla="*/ 183 w 200"/>
                <a:gd name="T15" fmla="*/ 111 h 143"/>
                <a:gd name="T16" fmla="*/ 172 w 200"/>
                <a:gd name="T17" fmla="*/ 122 h 143"/>
                <a:gd name="T18" fmla="*/ 156 w 200"/>
                <a:gd name="T19" fmla="*/ 130 h 143"/>
                <a:gd name="T20" fmla="*/ 148 w 200"/>
                <a:gd name="T21" fmla="*/ 134 h 143"/>
                <a:gd name="T22" fmla="*/ 139 w 200"/>
                <a:gd name="T23" fmla="*/ 138 h 143"/>
                <a:gd name="T24" fmla="*/ 131 w 200"/>
                <a:gd name="T25" fmla="*/ 140 h 143"/>
                <a:gd name="T26" fmla="*/ 121 w 200"/>
                <a:gd name="T27" fmla="*/ 142 h 143"/>
                <a:gd name="T28" fmla="*/ 111 w 200"/>
                <a:gd name="T29" fmla="*/ 143 h 143"/>
                <a:gd name="T30" fmla="*/ 101 w 200"/>
                <a:gd name="T31" fmla="*/ 143 h 143"/>
                <a:gd name="T32" fmla="*/ 89 w 200"/>
                <a:gd name="T33" fmla="*/ 143 h 143"/>
                <a:gd name="T34" fmla="*/ 81 w 200"/>
                <a:gd name="T35" fmla="*/ 142 h 143"/>
                <a:gd name="T36" fmla="*/ 71 w 200"/>
                <a:gd name="T37" fmla="*/ 140 h 143"/>
                <a:gd name="T38" fmla="*/ 61 w 200"/>
                <a:gd name="T39" fmla="*/ 138 h 143"/>
                <a:gd name="T40" fmla="*/ 52 w 200"/>
                <a:gd name="T41" fmla="*/ 134 h 143"/>
                <a:gd name="T42" fmla="*/ 44 w 200"/>
                <a:gd name="T43" fmla="*/ 130 h 143"/>
                <a:gd name="T44" fmla="*/ 30 w 200"/>
                <a:gd name="T45" fmla="*/ 122 h 143"/>
                <a:gd name="T46" fmla="*/ 18 w 200"/>
                <a:gd name="T47" fmla="*/ 111 h 143"/>
                <a:gd name="T48" fmla="*/ 13 w 200"/>
                <a:gd name="T49" fmla="*/ 106 h 143"/>
                <a:gd name="T50" fmla="*/ 8 w 200"/>
                <a:gd name="T51" fmla="*/ 99 h 143"/>
                <a:gd name="T52" fmla="*/ 5 w 200"/>
                <a:gd name="T53" fmla="*/ 93 h 143"/>
                <a:gd name="T54" fmla="*/ 2 w 200"/>
                <a:gd name="T55" fmla="*/ 85 h 143"/>
                <a:gd name="T56" fmla="*/ 0 w 200"/>
                <a:gd name="T57" fmla="*/ 79 h 143"/>
                <a:gd name="T58" fmla="*/ 0 w 200"/>
                <a:gd name="T59" fmla="*/ 70 h 143"/>
                <a:gd name="T60" fmla="*/ 0 w 200"/>
                <a:gd name="T61" fmla="*/ 64 h 143"/>
                <a:gd name="T62" fmla="*/ 2 w 200"/>
                <a:gd name="T63" fmla="*/ 56 h 143"/>
                <a:gd name="T64" fmla="*/ 5 w 200"/>
                <a:gd name="T65" fmla="*/ 49 h 143"/>
                <a:gd name="T66" fmla="*/ 8 w 200"/>
                <a:gd name="T67" fmla="*/ 42 h 143"/>
                <a:gd name="T68" fmla="*/ 13 w 200"/>
                <a:gd name="T69" fmla="*/ 37 h 143"/>
                <a:gd name="T70" fmla="*/ 18 w 200"/>
                <a:gd name="T71" fmla="*/ 32 h 143"/>
                <a:gd name="T72" fmla="*/ 30 w 200"/>
                <a:gd name="T73" fmla="*/ 20 h 143"/>
                <a:gd name="T74" fmla="*/ 44 w 200"/>
                <a:gd name="T75" fmla="*/ 11 h 143"/>
                <a:gd name="T76" fmla="*/ 52 w 200"/>
                <a:gd name="T77" fmla="*/ 7 h 143"/>
                <a:gd name="T78" fmla="*/ 61 w 200"/>
                <a:gd name="T79" fmla="*/ 5 h 143"/>
                <a:gd name="T80" fmla="*/ 71 w 200"/>
                <a:gd name="T81" fmla="*/ 2 h 143"/>
                <a:gd name="T82" fmla="*/ 81 w 200"/>
                <a:gd name="T83" fmla="*/ 1 h 143"/>
                <a:gd name="T84" fmla="*/ 89 w 200"/>
                <a:gd name="T85" fmla="*/ 0 h 143"/>
                <a:gd name="T86" fmla="*/ 101 w 200"/>
                <a:gd name="T87" fmla="*/ 0 h 143"/>
                <a:gd name="T88" fmla="*/ 111 w 200"/>
                <a:gd name="T89" fmla="*/ 0 h 143"/>
                <a:gd name="T90" fmla="*/ 121 w 200"/>
                <a:gd name="T91" fmla="*/ 1 h 143"/>
                <a:gd name="T92" fmla="*/ 131 w 200"/>
                <a:gd name="T93" fmla="*/ 2 h 143"/>
                <a:gd name="T94" fmla="*/ 139 w 200"/>
                <a:gd name="T95" fmla="*/ 5 h 143"/>
                <a:gd name="T96" fmla="*/ 148 w 200"/>
                <a:gd name="T97" fmla="*/ 7 h 143"/>
                <a:gd name="T98" fmla="*/ 156 w 200"/>
                <a:gd name="T99" fmla="*/ 11 h 143"/>
                <a:gd name="T100" fmla="*/ 172 w 200"/>
                <a:gd name="T101" fmla="*/ 20 h 143"/>
                <a:gd name="T102" fmla="*/ 183 w 200"/>
                <a:gd name="T103" fmla="*/ 32 h 143"/>
                <a:gd name="T104" fmla="*/ 189 w 200"/>
                <a:gd name="T105" fmla="*/ 37 h 143"/>
                <a:gd name="T106" fmla="*/ 192 w 200"/>
                <a:gd name="T107" fmla="*/ 42 h 143"/>
                <a:gd name="T108" fmla="*/ 196 w 200"/>
                <a:gd name="T109" fmla="*/ 49 h 143"/>
                <a:gd name="T110" fmla="*/ 198 w 200"/>
                <a:gd name="T111" fmla="*/ 56 h 143"/>
                <a:gd name="T112" fmla="*/ 200 w 200"/>
                <a:gd name="T113" fmla="*/ 64 h 143"/>
                <a:gd name="T114" fmla="*/ 200 w 200"/>
                <a:gd name="T115" fmla="*/ 7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" h="143">
                  <a:moveTo>
                    <a:pt x="200" y="70"/>
                  </a:moveTo>
                  <a:lnTo>
                    <a:pt x="200" y="70"/>
                  </a:lnTo>
                  <a:lnTo>
                    <a:pt x="200" y="79"/>
                  </a:lnTo>
                  <a:lnTo>
                    <a:pt x="198" y="85"/>
                  </a:lnTo>
                  <a:lnTo>
                    <a:pt x="196" y="93"/>
                  </a:lnTo>
                  <a:lnTo>
                    <a:pt x="192" y="99"/>
                  </a:lnTo>
                  <a:lnTo>
                    <a:pt x="189" y="106"/>
                  </a:lnTo>
                  <a:lnTo>
                    <a:pt x="183" y="111"/>
                  </a:lnTo>
                  <a:lnTo>
                    <a:pt x="172" y="122"/>
                  </a:lnTo>
                  <a:lnTo>
                    <a:pt x="156" y="130"/>
                  </a:lnTo>
                  <a:lnTo>
                    <a:pt x="148" y="134"/>
                  </a:lnTo>
                  <a:lnTo>
                    <a:pt x="139" y="138"/>
                  </a:lnTo>
                  <a:lnTo>
                    <a:pt x="131" y="140"/>
                  </a:lnTo>
                  <a:lnTo>
                    <a:pt x="121" y="142"/>
                  </a:lnTo>
                  <a:lnTo>
                    <a:pt x="111" y="143"/>
                  </a:lnTo>
                  <a:lnTo>
                    <a:pt x="101" y="143"/>
                  </a:lnTo>
                  <a:lnTo>
                    <a:pt x="89" y="143"/>
                  </a:lnTo>
                  <a:lnTo>
                    <a:pt x="81" y="142"/>
                  </a:lnTo>
                  <a:lnTo>
                    <a:pt x="71" y="140"/>
                  </a:lnTo>
                  <a:lnTo>
                    <a:pt x="61" y="138"/>
                  </a:lnTo>
                  <a:lnTo>
                    <a:pt x="52" y="134"/>
                  </a:lnTo>
                  <a:lnTo>
                    <a:pt x="44" y="130"/>
                  </a:lnTo>
                  <a:lnTo>
                    <a:pt x="30" y="122"/>
                  </a:lnTo>
                  <a:lnTo>
                    <a:pt x="18" y="111"/>
                  </a:lnTo>
                  <a:lnTo>
                    <a:pt x="13" y="106"/>
                  </a:lnTo>
                  <a:lnTo>
                    <a:pt x="8" y="99"/>
                  </a:lnTo>
                  <a:lnTo>
                    <a:pt x="5" y="93"/>
                  </a:lnTo>
                  <a:lnTo>
                    <a:pt x="2" y="85"/>
                  </a:lnTo>
                  <a:lnTo>
                    <a:pt x="0" y="79"/>
                  </a:lnTo>
                  <a:lnTo>
                    <a:pt x="0" y="70"/>
                  </a:lnTo>
                  <a:lnTo>
                    <a:pt x="0" y="64"/>
                  </a:lnTo>
                  <a:lnTo>
                    <a:pt x="2" y="56"/>
                  </a:lnTo>
                  <a:lnTo>
                    <a:pt x="5" y="49"/>
                  </a:lnTo>
                  <a:lnTo>
                    <a:pt x="8" y="42"/>
                  </a:lnTo>
                  <a:lnTo>
                    <a:pt x="13" y="37"/>
                  </a:lnTo>
                  <a:lnTo>
                    <a:pt x="18" y="32"/>
                  </a:lnTo>
                  <a:lnTo>
                    <a:pt x="30" y="20"/>
                  </a:lnTo>
                  <a:lnTo>
                    <a:pt x="44" y="11"/>
                  </a:lnTo>
                  <a:lnTo>
                    <a:pt x="52" y="7"/>
                  </a:lnTo>
                  <a:lnTo>
                    <a:pt x="61" y="5"/>
                  </a:lnTo>
                  <a:lnTo>
                    <a:pt x="71" y="2"/>
                  </a:lnTo>
                  <a:lnTo>
                    <a:pt x="81" y="1"/>
                  </a:lnTo>
                  <a:lnTo>
                    <a:pt x="89" y="0"/>
                  </a:lnTo>
                  <a:lnTo>
                    <a:pt x="101" y="0"/>
                  </a:lnTo>
                  <a:lnTo>
                    <a:pt x="111" y="0"/>
                  </a:lnTo>
                  <a:lnTo>
                    <a:pt x="121" y="1"/>
                  </a:lnTo>
                  <a:lnTo>
                    <a:pt x="131" y="2"/>
                  </a:lnTo>
                  <a:lnTo>
                    <a:pt x="139" y="5"/>
                  </a:lnTo>
                  <a:lnTo>
                    <a:pt x="148" y="7"/>
                  </a:lnTo>
                  <a:lnTo>
                    <a:pt x="156" y="11"/>
                  </a:lnTo>
                  <a:lnTo>
                    <a:pt x="172" y="20"/>
                  </a:lnTo>
                  <a:lnTo>
                    <a:pt x="183" y="32"/>
                  </a:lnTo>
                  <a:lnTo>
                    <a:pt x="189" y="37"/>
                  </a:lnTo>
                  <a:lnTo>
                    <a:pt x="192" y="42"/>
                  </a:lnTo>
                  <a:lnTo>
                    <a:pt x="196" y="49"/>
                  </a:lnTo>
                  <a:lnTo>
                    <a:pt x="198" y="56"/>
                  </a:lnTo>
                  <a:lnTo>
                    <a:pt x="200" y="64"/>
                  </a:lnTo>
                  <a:lnTo>
                    <a:pt x="200" y="70"/>
                  </a:lnTo>
                  <a:close/>
                </a:path>
              </a:pathLst>
            </a:custGeom>
            <a:solidFill>
              <a:srgbClr val="EA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7" name="Freeform 115"/>
            <p:cNvSpPr>
              <a:spLocks/>
            </p:cNvSpPr>
            <p:nvPr/>
          </p:nvSpPr>
          <p:spPr bwMode="auto">
            <a:xfrm>
              <a:off x="3376" y="1297"/>
              <a:ext cx="22" cy="23"/>
            </a:xfrm>
            <a:custGeom>
              <a:avLst/>
              <a:gdLst>
                <a:gd name="T0" fmla="*/ 28 w 28"/>
                <a:gd name="T1" fmla="*/ 13 h 27"/>
                <a:gd name="T2" fmla="*/ 28 w 28"/>
                <a:gd name="T3" fmla="*/ 13 h 27"/>
                <a:gd name="T4" fmla="*/ 28 w 28"/>
                <a:gd name="T5" fmla="*/ 18 h 27"/>
                <a:gd name="T6" fmla="*/ 24 w 28"/>
                <a:gd name="T7" fmla="*/ 22 h 27"/>
                <a:gd name="T8" fmla="*/ 19 w 28"/>
                <a:gd name="T9" fmla="*/ 27 h 27"/>
                <a:gd name="T10" fmla="*/ 14 w 28"/>
                <a:gd name="T11" fmla="*/ 27 h 27"/>
                <a:gd name="T12" fmla="*/ 10 w 28"/>
                <a:gd name="T13" fmla="*/ 27 h 27"/>
                <a:gd name="T14" fmla="*/ 5 w 28"/>
                <a:gd name="T15" fmla="*/ 22 h 27"/>
                <a:gd name="T16" fmla="*/ 0 w 28"/>
                <a:gd name="T17" fmla="*/ 18 h 27"/>
                <a:gd name="T18" fmla="*/ 0 w 28"/>
                <a:gd name="T19" fmla="*/ 13 h 27"/>
                <a:gd name="T20" fmla="*/ 0 w 28"/>
                <a:gd name="T21" fmla="*/ 8 h 27"/>
                <a:gd name="T22" fmla="*/ 5 w 28"/>
                <a:gd name="T23" fmla="*/ 4 h 27"/>
                <a:gd name="T24" fmla="*/ 10 w 28"/>
                <a:gd name="T25" fmla="*/ 0 h 27"/>
                <a:gd name="T26" fmla="*/ 14 w 28"/>
                <a:gd name="T27" fmla="*/ 0 h 27"/>
                <a:gd name="T28" fmla="*/ 19 w 28"/>
                <a:gd name="T29" fmla="*/ 0 h 27"/>
                <a:gd name="T30" fmla="*/ 24 w 28"/>
                <a:gd name="T31" fmla="*/ 4 h 27"/>
                <a:gd name="T32" fmla="*/ 28 w 28"/>
                <a:gd name="T33" fmla="*/ 8 h 27"/>
                <a:gd name="T34" fmla="*/ 28 w 28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7">
                  <a:moveTo>
                    <a:pt x="28" y="13"/>
                  </a:moveTo>
                  <a:lnTo>
                    <a:pt x="28" y="13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5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24" y="4"/>
                  </a:lnTo>
                  <a:lnTo>
                    <a:pt x="28" y="8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8" name="Freeform 116"/>
            <p:cNvSpPr>
              <a:spLocks/>
            </p:cNvSpPr>
            <p:nvPr/>
          </p:nvSpPr>
          <p:spPr bwMode="auto">
            <a:xfrm>
              <a:off x="3414" y="1213"/>
              <a:ext cx="22" cy="24"/>
            </a:xfrm>
            <a:custGeom>
              <a:avLst/>
              <a:gdLst>
                <a:gd name="T0" fmla="*/ 27 w 27"/>
                <a:gd name="T1" fmla="*/ 12 h 26"/>
                <a:gd name="T2" fmla="*/ 27 w 27"/>
                <a:gd name="T3" fmla="*/ 12 h 26"/>
                <a:gd name="T4" fmla="*/ 27 w 27"/>
                <a:gd name="T5" fmla="*/ 18 h 26"/>
                <a:gd name="T6" fmla="*/ 22 w 27"/>
                <a:gd name="T7" fmla="*/ 22 h 26"/>
                <a:gd name="T8" fmla="*/ 18 w 27"/>
                <a:gd name="T9" fmla="*/ 26 h 26"/>
                <a:gd name="T10" fmla="*/ 13 w 27"/>
                <a:gd name="T11" fmla="*/ 26 h 26"/>
                <a:gd name="T12" fmla="*/ 8 w 27"/>
                <a:gd name="T13" fmla="*/ 26 h 26"/>
                <a:gd name="T14" fmla="*/ 4 w 27"/>
                <a:gd name="T15" fmla="*/ 22 h 26"/>
                <a:gd name="T16" fmla="*/ 0 w 27"/>
                <a:gd name="T17" fmla="*/ 18 h 26"/>
                <a:gd name="T18" fmla="*/ 0 w 27"/>
                <a:gd name="T19" fmla="*/ 12 h 26"/>
                <a:gd name="T20" fmla="*/ 0 w 27"/>
                <a:gd name="T21" fmla="*/ 8 h 26"/>
                <a:gd name="T22" fmla="*/ 4 w 27"/>
                <a:gd name="T23" fmla="*/ 4 h 26"/>
                <a:gd name="T24" fmla="*/ 8 w 27"/>
                <a:gd name="T25" fmla="*/ 0 h 26"/>
                <a:gd name="T26" fmla="*/ 13 w 27"/>
                <a:gd name="T27" fmla="*/ 0 h 26"/>
                <a:gd name="T28" fmla="*/ 18 w 27"/>
                <a:gd name="T29" fmla="*/ 0 h 26"/>
                <a:gd name="T30" fmla="*/ 22 w 27"/>
                <a:gd name="T31" fmla="*/ 4 h 26"/>
                <a:gd name="T32" fmla="*/ 27 w 27"/>
                <a:gd name="T33" fmla="*/ 8 h 26"/>
                <a:gd name="T34" fmla="*/ 27 w 27"/>
                <a:gd name="T35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6">
                  <a:moveTo>
                    <a:pt x="27" y="12"/>
                  </a:moveTo>
                  <a:lnTo>
                    <a:pt x="27" y="12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3" y="26"/>
                  </a:lnTo>
                  <a:lnTo>
                    <a:pt x="8" y="26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7" y="8"/>
                  </a:lnTo>
                  <a:lnTo>
                    <a:pt x="27" y="12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9" name="Freeform 117"/>
            <p:cNvSpPr>
              <a:spLocks/>
            </p:cNvSpPr>
            <p:nvPr/>
          </p:nvSpPr>
          <p:spPr bwMode="auto">
            <a:xfrm>
              <a:off x="3376" y="1339"/>
              <a:ext cx="22" cy="23"/>
            </a:xfrm>
            <a:custGeom>
              <a:avLst/>
              <a:gdLst>
                <a:gd name="T0" fmla="*/ 28 w 28"/>
                <a:gd name="T1" fmla="*/ 13 h 27"/>
                <a:gd name="T2" fmla="*/ 28 w 28"/>
                <a:gd name="T3" fmla="*/ 13 h 27"/>
                <a:gd name="T4" fmla="*/ 28 w 28"/>
                <a:gd name="T5" fmla="*/ 18 h 27"/>
                <a:gd name="T6" fmla="*/ 24 w 28"/>
                <a:gd name="T7" fmla="*/ 22 h 27"/>
                <a:gd name="T8" fmla="*/ 19 w 28"/>
                <a:gd name="T9" fmla="*/ 27 h 27"/>
                <a:gd name="T10" fmla="*/ 14 w 28"/>
                <a:gd name="T11" fmla="*/ 27 h 27"/>
                <a:gd name="T12" fmla="*/ 10 w 28"/>
                <a:gd name="T13" fmla="*/ 27 h 27"/>
                <a:gd name="T14" fmla="*/ 5 w 28"/>
                <a:gd name="T15" fmla="*/ 22 h 27"/>
                <a:gd name="T16" fmla="*/ 0 w 28"/>
                <a:gd name="T17" fmla="*/ 18 h 27"/>
                <a:gd name="T18" fmla="*/ 0 w 28"/>
                <a:gd name="T19" fmla="*/ 13 h 27"/>
                <a:gd name="T20" fmla="*/ 0 w 28"/>
                <a:gd name="T21" fmla="*/ 9 h 27"/>
                <a:gd name="T22" fmla="*/ 5 w 28"/>
                <a:gd name="T23" fmla="*/ 4 h 27"/>
                <a:gd name="T24" fmla="*/ 10 w 28"/>
                <a:gd name="T25" fmla="*/ 0 h 27"/>
                <a:gd name="T26" fmla="*/ 14 w 28"/>
                <a:gd name="T27" fmla="*/ 0 h 27"/>
                <a:gd name="T28" fmla="*/ 19 w 28"/>
                <a:gd name="T29" fmla="*/ 0 h 27"/>
                <a:gd name="T30" fmla="*/ 24 w 28"/>
                <a:gd name="T31" fmla="*/ 4 h 27"/>
                <a:gd name="T32" fmla="*/ 28 w 28"/>
                <a:gd name="T33" fmla="*/ 9 h 27"/>
                <a:gd name="T34" fmla="*/ 28 w 28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" h="27">
                  <a:moveTo>
                    <a:pt x="28" y="13"/>
                  </a:moveTo>
                  <a:lnTo>
                    <a:pt x="28" y="13"/>
                  </a:lnTo>
                  <a:lnTo>
                    <a:pt x="28" y="18"/>
                  </a:lnTo>
                  <a:lnTo>
                    <a:pt x="24" y="22"/>
                  </a:lnTo>
                  <a:lnTo>
                    <a:pt x="19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5" y="22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4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24" y="4"/>
                  </a:lnTo>
                  <a:lnTo>
                    <a:pt x="28" y="9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30" name="Freeform 118"/>
            <p:cNvSpPr>
              <a:spLocks/>
            </p:cNvSpPr>
            <p:nvPr/>
          </p:nvSpPr>
          <p:spPr bwMode="auto">
            <a:xfrm>
              <a:off x="3491" y="1172"/>
              <a:ext cx="22" cy="25"/>
            </a:xfrm>
            <a:custGeom>
              <a:avLst/>
              <a:gdLst>
                <a:gd name="T0" fmla="*/ 27 w 27"/>
                <a:gd name="T1" fmla="*/ 13 h 27"/>
                <a:gd name="T2" fmla="*/ 27 w 27"/>
                <a:gd name="T3" fmla="*/ 13 h 27"/>
                <a:gd name="T4" fmla="*/ 27 w 27"/>
                <a:gd name="T5" fmla="*/ 18 h 27"/>
                <a:gd name="T6" fmla="*/ 23 w 27"/>
                <a:gd name="T7" fmla="*/ 23 h 27"/>
                <a:gd name="T8" fmla="*/ 18 w 27"/>
                <a:gd name="T9" fmla="*/ 27 h 27"/>
                <a:gd name="T10" fmla="*/ 13 w 27"/>
                <a:gd name="T11" fmla="*/ 27 h 27"/>
                <a:gd name="T12" fmla="*/ 9 w 27"/>
                <a:gd name="T13" fmla="*/ 27 h 27"/>
                <a:gd name="T14" fmla="*/ 5 w 27"/>
                <a:gd name="T15" fmla="*/ 23 h 27"/>
                <a:gd name="T16" fmla="*/ 0 w 27"/>
                <a:gd name="T17" fmla="*/ 18 h 27"/>
                <a:gd name="T18" fmla="*/ 0 w 27"/>
                <a:gd name="T19" fmla="*/ 13 h 27"/>
                <a:gd name="T20" fmla="*/ 0 w 27"/>
                <a:gd name="T21" fmla="*/ 9 h 27"/>
                <a:gd name="T22" fmla="*/ 5 w 27"/>
                <a:gd name="T23" fmla="*/ 4 h 27"/>
                <a:gd name="T24" fmla="*/ 9 w 27"/>
                <a:gd name="T25" fmla="*/ 0 h 27"/>
                <a:gd name="T26" fmla="*/ 13 w 27"/>
                <a:gd name="T27" fmla="*/ 0 h 27"/>
                <a:gd name="T28" fmla="*/ 18 w 27"/>
                <a:gd name="T29" fmla="*/ 0 h 27"/>
                <a:gd name="T30" fmla="*/ 23 w 27"/>
                <a:gd name="T31" fmla="*/ 4 h 27"/>
                <a:gd name="T32" fmla="*/ 27 w 27"/>
                <a:gd name="T33" fmla="*/ 9 h 27"/>
                <a:gd name="T34" fmla="*/ 27 w 27"/>
                <a:gd name="T35" fmla="*/ 1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" h="27">
                  <a:moveTo>
                    <a:pt x="27" y="13"/>
                  </a:moveTo>
                  <a:lnTo>
                    <a:pt x="27" y="13"/>
                  </a:lnTo>
                  <a:lnTo>
                    <a:pt x="27" y="18"/>
                  </a:lnTo>
                  <a:lnTo>
                    <a:pt x="23" y="23"/>
                  </a:lnTo>
                  <a:lnTo>
                    <a:pt x="18" y="27"/>
                  </a:lnTo>
                  <a:lnTo>
                    <a:pt x="13" y="27"/>
                  </a:lnTo>
                  <a:lnTo>
                    <a:pt x="9" y="27"/>
                  </a:lnTo>
                  <a:lnTo>
                    <a:pt x="5" y="23"/>
                  </a:lnTo>
                  <a:lnTo>
                    <a:pt x="0" y="18"/>
                  </a:lnTo>
                  <a:lnTo>
                    <a:pt x="0" y="13"/>
                  </a:lnTo>
                  <a:lnTo>
                    <a:pt x="0" y="9"/>
                  </a:lnTo>
                  <a:lnTo>
                    <a:pt x="5" y="4"/>
                  </a:lnTo>
                  <a:lnTo>
                    <a:pt x="9" y="0"/>
                  </a:lnTo>
                  <a:lnTo>
                    <a:pt x="13" y="0"/>
                  </a:lnTo>
                  <a:lnTo>
                    <a:pt x="18" y="0"/>
                  </a:lnTo>
                  <a:lnTo>
                    <a:pt x="23" y="4"/>
                  </a:lnTo>
                  <a:lnTo>
                    <a:pt x="27" y="9"/>
                  </a:lnTo>
                  <a:lnTo>
                    <a:pt x="27" y="13"/>
                  </a:lnTo>
                  <a:close/>
                </a:path>
              </a:pathLst>
            </a:custGeom>
            <a:solidFill>
              <a:srgbClr val="FEE3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31" name="Freeform 119"/>
            <p:cNvSpPr>
              <a:spLocks/>
            </p:cNvSpPr>
            <p:nvPr/>
          </p:nvSpPr>
          <p:spPr bwMode="auto">
            <a:xfrm>
              <a:off x="3541" y="1030"/>
              <a:ext cx="204" cy="249"/>
            </a:xfrm>
            <a:custGeom>
              <a:avLst/>
              <a:gdLst>
                <a:gd name="T0" fmla="*/ 24 w 267"/>
                <a:gd name="T1" fmla="*/ 34 h 284"/>
                <a:gd name="T2" fmla="*/ 0 w 267"/>
                <a:gd name="T3" fmla="*/ 109 h 284"/>
                <a:gd name="T4" fmla="*/ 5 w 267"/>
                <a:gd name="T5" fmla="*/ 132 h 284"/>
                <a:gd name="T6" fmla="*/ 19 w 267"/>
                <a:gd name="T7" fmla="*/ 143 h 284"/>
                <a:gd name="T8" fmla="*/ 39 w 267"/>
                <a:gd name="T9" fmla="*/ 142 h 284"/>
                <a:gd name="T10" fmla="*/ 76 w 267"/>
                <a:gd name="T11" fmla="*/ 107 h 284"/>
                <a:gd name="T12" fmla="*/ 98 w 267"/>
                <a:gd name="T13" fmla="*/ 82 h 284"/>
                <a:gd name="T14" fmla="*/ 67 w 267"/>
                <a:gd name="T15" fmla="*/ 146 h 284"/>
                <a:gd name="T16" fmla="*/ 60 w 267"/>
                <a:gd name="T17" fmla="*/ 173 h 284"/>
                <a:gd name="T18" fmla="*/ 66 w 267"/>
                <a:gd name="T19" fmla="*/ 183 h 284"/>
                <a:gd name="T20" fmla="*/ 82 w 267"/>
                <a:gd name="T21" fmla="*/ 185 h 284"/>
                <a:gd name="T22" fmla="*/ 97 w 267"/>
                <a:gd name="T23" fmla="*/ 183 h 284"/>
                <a:gd name="T24" fmla="*/ 126 w 267"/>
                <a:gd name="T25" fmla="*/ 165 h 284"/>
                <a:gd name="T26" fmla="*/ 160 w 267"/>
                <a:gd name="T27" fmla="*/ 138 h 284"/>
                <a:gd name="T28" fmla="*/ 114 w 267"/>
                <a:gd name="T29" fmla="*/ 189 h 284"/>
                <a:gd name="T30" fmla="*/ 104 w 267"/>
                <a:gd name="T31" fmla="*/ 207 h 284"/>
                <a:gd name="T32" fmla="*/ 106 w 267"/>
                <a:gd name="T33" fmla="*/ 220 h 284"/>
                <a:gd name="T34" fmla="*/ 118 w 267"/>
                <a:gd name="T35" fmla="*/ 228 h 284"/>
                <a:gd name="T36" fmla="*/ 137 w 267"/>
                <a:gd name="T37" fmla="*/ 227 h 284"/>
                <a:gd name="T38" fmla="*/ 178 w 267"/>
                <a:gd name="T39" fmla="*/ 215 h 284"/>
                <a:gd name="T40" fmla="*/ 214 w 267"/>
                <a:gd name="T41" fmla="*/ 199 h 284"/>
                <a:gd name="T42" fmla="*/ 188 w 267"/>
                <a:gd name="T43" fmla="*/ 212 h 284"/>
                <a:gd name="T44" fmla="*/ 160 w 267"/>
                <a:gd name="T45" fmla="*/ 232 h 284"/>
                <a:gd name="T46" fmla="*/ 147 w 267"/>
                <a:gd name="T47" fmla="*/ 253 h 284"/>
                <a:gd name="T48" fmla="*/ 146 w 267"/>
                <a:gd name="T49" fmla="*/ 266 h 284"/>
                <a:gd name="T50" fmla="*/ 153 w 267"/>
                <a:gd name="T51" fmla="*/ 280 h 284"/>
                <a:gd name="T52" fmla="*/ 165 w 267"/>
                <a:gd name="T53" fmla="*/ 281 h 284"/>
                <a:gd name="T54" fmla="*/ 188 w 267"/>
                <a:gd name="T55" fmla="*/ 269 h 284"/>
                <a:gd name="T56" fmla="*/ 225 w 267"/>
                <a:gd name="T57" fmla="*/ 235 h 284"/>
                <a:gd name="T58" fmla="*/ 254 w 267"/>
                <a:gd name="T59" fmla="*/ 205 h 284"/>
                <a:gd name="T60" fmla="*/ 267 w 267"/>
                <a:gd name="T61" fmla="*/ 183 h 284"/>
                <a:gd name="T62" fmla="*/ 265 w 267"/>
                <a:gd name="T63" fmla="*/ 170 h 284"/>
                <a:gd name="T64" fmla="*/ 253 w 267"/>
                <a:gd name="T65" fmla="*/ 162 h 284"/>
                <a:gd name="T66" fmla="*/ 221 w 267"/>
                <a:gd name="T67" fmla="*/ 165 h 284"/>
                <a:gd name="T68" fmla="*/ 163 w 267"/>
                <a:gd name="T69" fmla="*/ 186 h 284"/>
                <a:gd name="T70" fmla="*/ 186 w 267"/>
                <a:gd name="T71" fmla="*/ 158 h 284"/>
                <a:gd name="T72" fmla="*/ 199 w 267"/>
                <a:gd name="T73" fmla="*/ 136 h 284"/>
                <a:gd name="T74" fmla="*/ 205 w 267"/>
                <a:gd name="T75" fmla="*/ 112 h 284"/>
                <a:gd name="T76" fmla="*/ 195 w 267"/>
                <a:gd name="T77" fmla="*/ 97 h 284"/>
                <a:gd name="T78" fmla="*/ 181 w 267"/>
                <a:gd name="T79" fmla="*/ 92 h 284"/>
                <a:gd name="T80" fmla="*/ 166 w 267"/>
                <a:gd name="T81" fmla="*/ 94 h 284"/>
                <a:gd name="T82" fmla="*/ 120 w 267"/>
                <a:gd name="T83" fmla="*/ 124 h 284"/>
                <a:gd name="T84" fmla="*/ 118 w 267"/>
                <a:gd name="T85" fmla="*/ 111 h 284"/>
                <a:gd name="T86" fmla="*/ 135 w 267"/>
                <a:gd name="T87" fmla="*/ 73 h 284"/>
                <a:gd name="T88" fmla="*/ 132 w 267"/>
                <a:gd name="T89" fmla="*/ 56 h 284"/>
                <a:gd name="T90" fmla="*/ 122 w 267"/>
                <a:gd name="T91" fmla="*/ 44 h 284"/>
                <a:gd name="T92" fmla="*/ 102 w 267"/>
                <a:gd name="T93" fmla="*/ 43 h 284"/>
                <a:gd name="T94" fmla="*/ 84 w 267"/>
                <a:gd name="T95" fmla="*/ 51 h 284"/>
                <a:gd name="T96" fmla="*/ 52 w 267"/>
                <a:gd name="T97" fmla="*/ 81 h 284"/>
                <a:gd name="T98" fmla="*/ 64 w 267"/>
                <a:gd name="T99" fmla="*/ 31 h 284"/>
                <a:gd name="T100" fmla="*/ 64 w 267"/>
                <a:gd name="T101" fmla="*/ 11 h 284"/>
                <a:gd name="T102" fmla="*/ 52 w 267"/>
                <a:gd name="T103" fmla="*/ 0 h 284"/>
                <a:gd name="T104" fmla="*/ 37 w 267"/>
                <a:gd name="T105" fmla="*/ 6 h 284"/>
                <a:gd name="T106" fmla="*/ 24 w 267"/>
                <a:gd name="T107" fmla="*/ 3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7" h="284">
                  <a:moveTo>
                    <a:pt x="24" y="34"/>
                  </a:moveTo>
                  <a:lnTo>
                    <a:pt x="24" y="34"/>
                  </a:lnTo>
                  <a:lnTo>
                    <a:pt x="12" y="66"/>
                  </a:lnTo>
                  <a:lnTo>
                    <a:pt x="0" y="109"/>
                  </a:lnTo>
                  <a:lnTo>
                    <a:pt x="3" y="123"/>
                  </a:lnTo>
                  <a:lnTo>
                    <a:pt x="5" y="132"/>
                  </a:lnTo>
                  <a:lnTo>
                    <a:pt x="12" y="138"/>
                  </a:lnTo>
                  <a:lnTo>
                    <a:pt x="19" y="143"/>
                  </a:lnTo>
                  <a:lnTo>
                    <a:pt x="28" y="146"/>
                  </a:lnTo>
                  <a:lnTo>
                    <a:pt x="39" y="142"/>
                  </a:lnTo>
                  <a:lnTo>
                    <a:pt x="53" y="131"/>
                  </a:lnTo>
                  <a:lnTo>
                    <a:pt x="76" y="107"/>
                  </a:lnTo>
                  <a:lnTo>
                    <a:pt x="91" y="91"/>
                  </a:lnTo>
                  <a:lnTo>
                    <a:pt x="98" y="82"/>
                  </a:lnTo>
                  <a:lnTo>
                    <a:pt x="80" y="118"/>
                  </a:lnTo>
                  <a:lnTo>
                    <a:pt x="67" y="146"/>
                  </a:lnTo>
                  <a:lnTo>
                    <a:pt x="59" y="167"/>
                  </a:lnTo>
                  <a:lnTo>
                    <a:pt x="60" y="173"/>
                  </a:lnTo>
                  <a:lnTo>
                    <a:pt x="62" y="178"/>
                  </a:lnTo>
                  <a:lnTo>
                    <a:pt x="66" y="183"/>
                  </a:lnTo>
                  <a:lnTo>
                    <a:pt x="74" y="185"/>
                  </a:lnTo>
                  <a:lnTo>
                    <a:pt x="82" y="185"/>
                  </a:lnTo>
                  <a:lnTo>
                    <a:pt x="88" y="185"/>
                  </a:lnTo>
                  <a:lnTo>
                    <a:pt x="97" y="183"/>
                  </a:lnTo>
                  <a:lnTo>
                    <a:pt x="107" y="178"/>
                  </a:lnTo>
                  <a:lnTo>
                    <a:pt x="126" y="165"/>
                  </a:lnTo>
                  <a:lnTo>
                    <a:pt x="143" y="153"/>
                  </a:lnTo>
                  <a:lnTo>
                    <a:pt x="160" y="138"/>
                  </a:lnTo>
                  <a:lnTo>
                    <a:pt x="133" y="167"/>
                  </a:lnTo>
                  <a:lnTo>
                    <a:pt x="114" y="189"/>
                  </a:lnTo>
                  <a:lnTo>
                    <a:pt x="106" y="199"/>
                  </a:lnTo>
                  <a:lnTo>
                    <a:pt x="104" y="207"/>
                  </a:lnTo>
                  <a:lnTo>
                    <a:pt x="104" y="214"/>
                  </a:lnTo>
                  <a:lnTo>
                    <a:pt x="106" y="220"/>
                  </a:lnTo>
                  <a:lnTo>
                    <a:pt x="113" y="225"/>
                  </a:lnTo>
                  <a:lnTo>
                    <a:pt x="118" y="228"/>
                  </a:lnTo>
                  <a:lnTo>
                    <a:pt x="128" y="228"/>
                  </a:lnTo>
                  <a:lnTo>
                    <a:pt x="137" y="227"/>
                  </a:lnTo>
                  <a:lnTo>
                    <a:pt x="158" y="224"/>
                  </a:lnTo>
                  <a:lnTo>
                    <a:pt x="178" y="215"/>
                  </a:lnTo>
                  <a:lnTo>
                    <a:pt x="197" y="207"/>
                  </a:lnTo>
                  <a:lnTo>
                    <a:pt x="214" y="199"/>
                  </a:lnTo>
                  <a:lnTo>
                    <a:pt x="202" y="205"/>
                  </a:lnTo>
                  <a:lnTo>
                    <a:pt x="188" y="212"/>
                  </a:lnTo>
                  <a:lnTo>
                    <a:pt x="173" y="220"/>
                  </a:lnTo>
                  <a:lnTo>
                    <a:pt x="160" y="232"/>
                  </a:lnTo>
                  <a:lnTo>
                    <a:pt x="149" y="244"/>
                  </a:lnTo>
                  <a:lnTo>
                    <a:pt x="147" y="253"/>
                  </a:lnTo>
                  <a:lnTo>
                    <a:pt x="144" y="258"/>
                  </a:lnTo>
                  <a:lnTo>
                    <a:pt x="146" y="266"/>
                  </a:lnTo>
                  <a:lnTo>
                    <a:pt x="148" y="273"/>
                  </a:lnTo>
                  <a:lnTo>
                    <a:pt x="153" y="280"/>
                  </a:lnTo>
                  <a:lnTo>
                    <a:pt x="161" y="284"/>
                  </a:lnTo>
                  <a:lnTo>
                    <a:pt x="165" y="281"/>
                  </a:lnTo>
                  <a:lnTo>
                    <a:pt x="172" y="280"/>
                  </a:lnTo>
                  <a:lnTo>
                    <a:pt x="188" y="269"/>
                  </a:lnTo>
                  <a:lnTo>
                    <a:pt x="203" y="255"/>
                  </a:lnTo>
                  <a:lnTo>
                    <a:pt x="225" y="235"/>
                  </a:lnTo>
                  <a:lnTo>
                    <a:pt x="242" y="219"/>
                  </a:lnTo>
                  <a:lnTo>
                    <a:pt x="254" y="205"/>
                  </a:lnTo>
                  <a:lnTo>
                    <a:pt x="263" y="194"/>
                  </a:lnTo>
                  <a:lnTo>
                    <a:pt x="267" y="183"/>
                  </a:lnTo>
                  <a:lnTo>
                    <a:pt x="267" y="177"/>
                  </a:lnTo>
                  <a:lnTo>
                    <a:pt x="265" y="170"/>
                  </a:lnTo>
                  <a:lnTo>
                    <a:pt x="260" y="164"/>
                  </a:lnTo>
                  <a:lnTo>
                    <a:pt x="253" y="162"/>
                  </a:lnTo>
                  <a:lnTo>
                    <a:pt x="243" y="162"/>
                  </a:lnTo>
                  <a:lnTo>
                    <a:pt x="221" y="165"/>
                  </a:lnTo>
                  <a:lnTo>
                    <a:pt x="192" y="173"/>
                  </a:lnTo>
                  <a:lnTo>
                    <a:pt x="163" y="186"/>
                  </a:lnTo>
                  <a:lnTo>
                    <a:pt x="170" y="178"/>
                  </a:lnTo>
                  <a:lnTo>
                    <a:pt x="186" y="158"/>
                  </a:lnTo>
                  <a:lnTo>
                    <a:pt x="192" y="148"/>
                  </a:lnTo>
                  <a:lnTo>
                    <a:pt x="199" y="136"/>
                  </a:lnTo>
                  <a:lnTo>
                    <a:pt x="203" y="123"/>
                  </a:lnTo>
                  <a:lnTo>
                    <a:pt x="205" y="112"/>
                  </a:lnTo>
                  <a:lnTo>
                    <a:pt x="201" y="105"/>
                  </a:lnTo>
                  <a:lnTo>
                    <a:pt x="195" y="97"/>
                  </a:lnTo>
                  <a:lnTo>
                    <a:pt x="190" y="94"/>
                  </a:lnTo>
                  <a:lnTo>
                    <a:pt x="181" y="92"/>
                  </a:lnTo>
                  <a:lnTo>
                    <a:pt x="175" y="92"/>
                  </a:lnTo>
                  <a:lnTo>
                    <a:pt x="166" y="94"/>
                  </a:lnTo>
                  <a:lnTo>
                    <a:pt x="151" y="101"/>
                  </a:lnTo>
                  <a:lnTo>
                    <a:pt x="120" y="124"/>
                  </a:lnTo>
                  <a:lnTo>
                    <a:pt x="103" y="139"/>
                  </a:lnTo>
                  <a:lnTo>
                    <a:pt x="118" y="111"/>
                  </a:lnTo>
                  <a:lnTo>
                    <a:pt x="129" y="89"/>
                  </a:lnTo>
                  <a:lnTo>
                    <a:pt x="135" y="73"/>
                  </a:lnTo>
                  <a:lnTo>
                    <a:pt x="135" y="64"/>
                  </a:lnTo>
                  <a:lnTo>
                    <a:pt x="132" y="56"/>
                  </a:lnTo>
                  <a:lnTo>
                    <a:pt x="129" y="49"/>
                  </a:lnTo>
                  <a:lnTo>
                    <a:pt x="122" y="44"/>
                  </a:lnTo>
                  <a:lnTo>
                    <a:pt x="112" y="43"/>
                  </a:lnTo>
                  <a:lnTo>
                    <a:pt x="102" y="43"/>
                  </a:lnTo>
                  <a:lnTo>
                    <a:pt x="94" y="46"/>
                  </a:lnTo>
                  <a:lnTo>
                    <a:pt x="84" y="51"/>
                  </a:lnTo>
                  <a:lnTo>
                    <a:pt x="65" y="66"/>
                  </a:lnTo>
                  <a:lnTo>
                    <a:pt x="52" y="81"/>
                  </a:lnTo>
                  <a:lnTo>
                    <a:pt x="42" y="94"/>
                  </a:lnTo>
                  <a:lnTo>
                    <a:pt x="64" y="31"/>
                  </a:lnTo>
                  <a:lnTo>
                    <a:pt x="65" y="19"/>
                  </a:lnTo>
                  <a:lnTo>
                    <a:pt x="64" y="11"/>
                  </a:lnTo>
                  <a:lnTo>
                    <a:pt x="59" y="2"/>
                  </a:lnTo>
                  <a:lnTo>
                    <a:pt x="52" y="0"/>
                  </a:lnTo>
                  <a:lnTo>
                    <a:pt x="44" y="0"/>
                  </a:lnTo>
                  <a:lnTo>
                    <a:pt x="37" y="6"/>
                  </a:lnTo>
                  <a:lnTo>
                    <a:pt x="28" y="16"/>
                  </a:lnTo>
                  <a:lnTo>
                    <a:pt x="24" y="34"/>
                  </a:lnTo>
                  <a:close/>
                </a:path>
              </a:pathLst>
            </a:custGeom>
            <a:solidFill>
              <a:srgbClr val="33CC33"/>
            </a:solidFill>
            <a:ln w="6350">
              <a:solidFill>
                <a:srgbClr val="0099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287087" y="2174885"/>
            <a:ext cx="161024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учная клетка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3484" y="2103231"/>
            <a:ext cx="1056224" cy="1083658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576" y="3432143"/>
            <a:ext cx="583313" cy="630991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2840305" y="3263845"/>
            <a:ext cx="151717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сновные</a:t>
            </a:r>
            <a:endParaRPr lang="ru-RU" alt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теины</a:t>
            </a:r>
            <a:endParaRPr lang="ru-RU" altLang="ru-RU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йкотриены</a:t>
            </a:r>
            <a:endParaRPr lang="ru-RU" altLang="ru-RU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токины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827" y="4339821"/>
            <a:ext cx="661982" cy="501307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319618" y="3140734"/>
            <a:ext cx="13665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озинофил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475800" y="4048675"/>
            <a:ext cx="11069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азофил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896949" y="4255110"/>
            <a:ext cx="154726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истамин</a:t>
            </a:r>
          </a:p>
          <a:p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йкотриены</a:t>
            </a:r>
            <a:endParaRPr lang="ru-RU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токины</a:t>
            </a:r>
          </a:p>
          <a:p>
            <a:r>
              <a:rPr lang="ru-RU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АФ</a:t>
            </a:r>
          </a:p>
        </p:txBody>
      </p:sp>
      <p:sp>
        <p:nvSpPr>
          <p:cNvPr id="41" name="Стрелка вправо 40"/>
          <p:cNvSpPr/>
          <p:nvPr/>
        </p:nvSpPr>
        <p:spPr>
          <a:xfrm>
            <a:off x="1999196" y="2521244"/>
            <a:ext cx="733806" cy="36347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prstClr val="white"/>
              </a:solidFill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12165" y="3396693"/>
            <a:ext cx="749873" cy="388654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06768" y="4257564"/>
            <a:ext cx="749873" cy="388654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127" y="1605499"/>
            <a:ext cx="4657047" cy="4409153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>
            <a:off x="4215786" y="3293079"/>
            <a:ext cx="1310910" cy="297941"/>
          </a:xfrm>
          <a:prstGeom prst="rect">
            <a:avLst/>
          </a:prstGeom>
          <a:solidFill>
            <a:srgbClr val="4E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стеиновые</a:t>
            </a:r>
            <a:r>
              <a:rPr lang="ru-RU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йкотриены</a:t>
            </a:r>
            <a:endParaRPr lang="en-US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186803" y="1333795"/>
            <a:ext cx="39326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стеиновые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йкотриены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модулируют медиаторы воспаления.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094862" y="6014652"/>
            <a:ext cx="36338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едиаторы воспаления модулируют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стеиновые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лейкотриены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6279419" y="1857015"/>
            <a:ext cx="982464" cy="1550852"/>
          </a:xfrm>
          <a:prstGeom prst="rect">
            <a:avLst/>
          </a:prstGeom>
          <a:solidFill>
            <a:srgbClr val="4E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25" dirty="0">
              <a:solidFill>
                <a:prstClr val="black"/>
              </a:solidFill>
            </a:endParaRPr>
          </a:p>
          <a:p>
            <a:pPr algn="ctr"/>
            <a:endParaRPr lang="ru-RU" sz="825" dirty="0">
              <a:solidFill>
                <a:prstClr val="black"/>
              </a:solidFill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6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8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10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12</a:t>
            </a: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P-1</a:t>
            </a:r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α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P-1</a:t>
            </a:r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β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АП-1</a:t>
            </a: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MP-1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истамин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Э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200472" y="1726879"/>
            <a:ext cx="1056729" cy="1532129"/>
          </a:xfrm>
          <a:prstGeom prst="rect">
            <a:avLst/>
          </a:prstGeom>
          <a:solidFill>
            <a:srgbClr val="4E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675" b="1" dirty="0">
              <a:solidFill>
                <a:prstClr val="black"/>
              </a:solidFill>
            </a:endParaRPr>
          </a:p>
          <a:p>
            <a:pPr algn="ctr"/>
            <a:r>
              <a:rPr lang="ru-RU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отоксин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OS </a:t>
            </a:r>
            <a:r>
              <a:rPr lang="en-US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rot</a:t>
            </a:r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X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итокин А5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КБ</a:t>
            </a: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F-kB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ФР</a:t>
            </a: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c-1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Β</a:t>
            </a:r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нтегрины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</a:t>
            </a:r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електины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350" dirty="0">
              <a:solidFill>
                <a:prstClr val="white"/>
              </a:solidFill>
            </a:endParaRPr>
          </a:p>
          <a:p>
            <a:pPr algn="ctr"/>
            <a:endParaRPr lang="ru-RU" sz="1350" dirty="0">
              <a:solidFill>
                <a:prstClr val="white"/>
              </a:solidFill>
            </a:endParaRPr>
          </a:p>
          <a:p>
            <a:pPr algn="ctr"/>
            <a:endParaRPr lang="ru-RU" sz="1350" dirty="0">
              <a:solidFill>
                <a:prstClr val="white"/>
              </a:solidFill>
            </a:endParaRPr>
          </a:p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094862" y="2726061"/>
            <a:ext cx="609033" cy="460695"/>
          </a:xfrm>
          <a:prstGeom prst="rect">
            <a:avLst/>
          </a:prstGeom>
          <a:solidFill>
            <a:srgbClr val="4E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3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4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5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5682741" y="2155614"/>
            <a:ext cx="684781" cy="763497"/>
          </a:xfrm>
          <a:prstGeom prst="rect">
            <a:avLst/>
          </a:prstGeom>
          <a:solidFill>
            <a:srgbClr val="4EFF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НО-</a:t>
            </a:r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α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Эндотелин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кись </a:t>
            </a:r>
            <a:r>
              <a:rPr lang="ru-RU" sz="105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азота</a:t>
            </a:r>
            <a:endParaRPr lang="en-US" sz="788" dirty="0">
              <a:solidFill>
                <a:prstClr val="black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094862" y="4528342"/>
            <a:ext cx="641237" cy="625571"/>
          </a:xfrm>
          <a:prstGeom prst="rect">
            <a:avLst/>
          </a:prstGeom>
          <a:solidFill>
            <a:srgbClr val="AEFF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13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МКФ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1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Ф-</a:t>
            </a:r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γ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5703895" y="4798870"/>
            <a:ext cx="932400" cy="719898"/>
          </a:xfrm>
          <a:prstGeom prst="rect">
            <a:avLst/>
          </a:prstGeom>
          <a:solidFill>
            <a:srgbClr val="AEFF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endParaRPr lang="ru-RU" sz="788" dirty="0">
              <a:solidFill>
                <a:prstClr val="black"/>
              </a:solidFill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АТ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ФП-1</a:t>
            </a:r>
          </a:p>
          <a:p>
            <a:pPr algn="ctr"/>
            <a:r>
              <a:rPr lang="ru-RU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ксидант</a:t>
            </a:r>
            <a:endParaRPr lang="ru-RU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МА-1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636295" y="4732162"/>
            <a:ext cx="1092541" cy="721869"/>
          </a:xfrm>
          <a:prstGeom prst="rect">
            <a:avLst/>
          </a:prstGeom>
          <a:solidFill>
            <a:srgbClr val="AEFF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Л-16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РНТ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ЧБ-1</a:t>
            </a:r>
          </a:p>
          <a:p>
            <a:pPr algn="ctr"/>
            <a:r>
              <a:rPr lang="en-US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5a</a:t>
            </a:r>
          </a:p>
          <a:p>
            <a:pPr algn="ctr"/>
            <a:r>
              <a:rPr lang="ru-RU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ФНО-</a:t>
            </a:r>
            <a:r>
              <a:rPr lang="el-GR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β</a:t>
            </a:r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105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181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ru-RU" altLang="en-US" sz="2800" b="1" dirty="0" err="1">
                <a:solidFill>
                  <a:schemeClr val="bg1"/>
                </a:solidFill>
                <a:latin typeface="+mn-lt"/>
              </a:rPr>
              <a:t>Цистеиниловые</a:t>
            </a:r>
            <a:r>
              <a:rPr lang="ru-RU" altLang="en-US" sz="28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altLang="en-US" sz="2800" b="1" dirty="0" err="1">
                <a:solidFill>
                  <a:schemeClr val="bg1"/>
                </a:solidFill>
                <a:latin typeface="+mn-lt"/>
              </a:rPr>
              <a:t>лейкотриены</a:t>
            </a:r>
            <a:r>
              <a:rPr lang="ru-RU" altLang="en-US" sz="2800" b="1" dirty="0">
                <a:solidFill>
                  <a:schemeClr val="bg1"/>
                </a:solidFill>
                <a:latin typeface="+mn-lt"/>
              </a:rPr>
              <a:t>: </a:t>
            </a:r>
            <a:br>
              <a:rPr lang="ru-RU" altLang="en-US" sz="2800" b="1" dirty="0">
                <a:solidFill>
                  <a:schemeClr val="bg1"/>
                </a:solidFill>
                <a:latin typeface="+mn-lt"/>
              </a:rPr>
            </a:br>
            <a:r>
              <a:rPr lang="ru-RU" altLang="en-US" sz="2800" b="1" dirty="0">
                <a:solidFill>
                  <a:schemeClr val="bg1"/>
                </a:solidFill>
                <a:latin typeface="+mn-lt"/>
              </a:rPr>
              <a:t>действие на дыхательные пути</a:t>
            </a:r>
            <a:endParaRPr lang="ru-RU" sz="2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just">
              <a:lnSpc>
                <a:spcPct val="115000"/>
              </a:lnSpc>
              <a:spcBef>
                <a:spcPts val="0"/>
              </a:spcBef>
              <a:buFont typeface="Calibri" pitchFamily="34" charset="0"/>
              <a:buChar char="−"/>
              <a:tabLst>
                <a:tab pos="128588" algn="l"/>
              </a:tabLst>
            </a:pPr>
            <a:r>
              <a:rPr lang="ru-RU" altLang="en-US" sz="1800" b="1" i="1" u="sng" dirty="0">
                <a:solidFill>
                  <a:srgbClr val="0070C0"/>
                </a:solidFill>
              </a:rPr>
              <a:t>Привлечение эозинофилов в дыхательные пути</a:t>
            </a:r>
            <a:r>
              <a:rPr lang="ru-RU" altLang="en-US" sz="1800" b="1" dirty="0">
                <a:solidFill>
                  <a:srgbClr val="0070C0"/>
                </a:solidFill>
              </a:rPr>
              <a:t>, </a:t>
            </a:r>
            <a:r>
              <a:rPr lang="ru-RU" altLang="en-US" sz="1800" b="1" dirty="0"/>
              <a:t>повреждение эпителия и повышение бронхиальной реактивности.</a:t>
            </a:r>
            <a:r>
              <a:rPr lang="en-US" altLang="en-US" sz="1800" b="1" dirty="0"/>
              <a:t> </a:t>
            </a:r>
            <a:endParaRPr lang="en-US" altLang="en-US" sz="1800" b="1" baseline="30000" dirty="0"/>
          </a:p>
          <a:p>
            <a:pPr algn="just">
              <a:lnSpc>
                <a:spcPct val="115000"/>
              </a:lnSpc>
              <a:spcBef>
                <a:spcPts val="0"/>
              </a:spcBef>
              <a:buFont typeface="Calibri" pitchFamily="34" charset="0"/>
              <a:buChar char="−"/>
              <a:tabLst>
                <a:tab pos="128588" algn="l"/>
              </a:tabLst>
            </a:pPr>
            <a:r>
              <a:rPr lang="ru-RU" altLang="en-US" sz="1800" b="1" i="1" u="sng" dirty="0">
                <a:solidFill>
                  <a:srgbClr val="0070C0"/>
                </a:solidFill>
              </a:rPr>
              <a:t>Повышение проницаемости </a:t>
            </a:r>
            <a:r>
              <a:rPr lang="ru-RU" altLang="en-US" sz="1800" b="1" i="1" u="sng" dirty="0" err="1">
                <a:solidFill>
                  <a:srgbClr val="0070C0"/>
                </a:solidFill>
              </a:rPr>
              <a:t>ми</a:t>
            </a:r>
            <a:r>
              <a:rPr lang="ru-RU" altLang="en-US" sz="1800" b="1" u="sng" dirty="0" err="1">
                <a:solidFill>
                  <a:srgbClr val="0070C0"/>
                </a:solidFill>
              </a:rPr>
              <a:t>крососудов</a:t>
            </a:r>
            <a:r>
              <a:rPr lang="ru-RU" altLang="en-US" sz="1800" b="1" dirty="0">
                <a:solidFill>
                  <a:srgbClr val="0070C0"/>
                </a:solidFill>
              </a:rPr>
              <a:t>, </a:t>
            </a:r>
            <a:r>
              <a:rPr lang="ru-RU" altLang="en-US" sz="1800" b="1" dirty="0"/>
              <a:t>экссудация плазмы в бронхиальную стенку и просвет, формирование </a:t>
            </a:r>
            <a:r>
              <a:rPr lang="ru-RU" altLang="en-US" sz="1800" b="1" i="1" u="sng" dirty="0">
                <a:solidFill>
                  <a:srgbClr val="0070C0"/>
                </a:solidFill>
              </a:rPr>
              <a:t>отека слизистой оболочки</a:t>
            </a:r>
            <a:r>
              <a:rPr lang="en-US" altLang="en-US" sz="1800" b="1" dirty="0">
                <a:solidFill>
                  <a:srgbClr val="0070C0"/>
                </a:solidFill>
              </a:rPr>
              <a:t>.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buFont typeface="Calibri" pitchFamily="34" charset="0"/>
              <a:buChar char="−"/>
              <a:tabLst>
                <a:tab pos="128588" algn="l"/>
              </a:tabLst>
            </a:pPr>
            <a:r>
              <a:rPr lang="ru-RU" altLang="en-US" sz="1800" b="1" i="1" u="sng" dirty="0">
                <a:solidFill>
                  <a:srgbClr val="0070C0"/>
                </a:solidFill>
              </a:rPr>
              <a:t>Увеличение секреции слизи</a:t>
            </a:r>
            <a:r>
              <a:rPr lang="en-US" altLang="en-US" sz="1800" b="1" i="1" dirty="0">
                <a:solidFill>
                  <a:srgbClr val="0070C0"/>
                </a:solidFill>
              </a:rPr>
              <a:t>,</a:t>
            </a:r>
            <a:r>
              <a:rPr lang="en-US" altLang="en-US" sz="1800" b="1" dirty="0">
                <a:solidFill>
                  <a:srgbClr val="0070C0"/>
                </a:solidFill>
              </a:rPr>
              <a:t> </a:t>
            </a:r>
            <a:r>
              <a:rPr lang="ru-RU" altLang="en-US" sz="1800" b="1" dirty="0"/>
              <a:t>которая вместе с белками плазмы и распадающимися клетками образует слизистые пробки</a:t>
            </a:r>
            <a:r>
              <a:rPr lang="en-US" altLang="en-US" sz="1800" b="1" dirty="0"/>
              <a:t>.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buFont typeface="Calibri" pitchFamily="34" charset="0"/>
              <a:buChar char="−"/>
              <a:tabLst>
                <a:tab pos="128588" algn="l"/>
              </a:tabLst>
            </a:pPr>
            <a:r>
              <a:rPr lang="ru-RU" altLang="en-US" sz="1800" b="1" i="1" u="sng" dirty="0">
                <a:solidFill>
                  <a:srgbClr val="0070C0"/>
                </a:solidFill>
              </a:rPr>
              <a:t>Выраженный </a:t>
            </a:r>
            <a:r>
              <a:rPr lang="ru-RU" altLang="en-US" sz="1800" b="1" i="1" u="sng" dirty="0" err="1">
                <a:solidFill>
                  <a:srgbClr val="0070C0"/>
                </a:solidFill>
              </a:rPr>
              <a:t>бронхоспазм</a:t>
            </a:r>
            <a:r>
              <a:rPr lang="en-US" altLang="en-US" sz="1800" b="1" i="1" dirty="0"/>
              <a:t>,</a:t>
            </a:r>
            <a:r>
              <a:rPr lang="en-US" altLang="en-US" sz="1800" b="1" dirty="0"/>
              <a:t> </a:t>
            </a:r>
            <a:r>
              <a:rPr lang="ru-RU" altLang="en-US" sz="1800" b="1" dirty="0"/>
              <a:t>обусловленный </a:t>
            </a:r>
            <a:r>
              <a:rPr lang="ru-RU" altLang="en-US" sz="1800" b="1" dirty="0" err="1"/>
              <a:t>констрикторным</a:t>
            </a:r>
            <a:r>
              <a:rPr lang="ru-RU" altLang="en-US" sz="1800" b="1" dirty="0"/>
              <a:t> действием </a:t>
            </a:r>
            <a:r>
              <a:rPr lang="ru-RU" altLang="en-US" sz="1800" b="1" dirty="0" err="1"/>
              <a:t>лейкотриенов</a:t>
            </a:r>
            <a:r>
              <a:rPr lang="ru-RU" altLang="en-US" sz="1800" b="1" dirty="0"/>
              <a:t> на гладкомышечные клетки дыхательных путей</a:t>
            </a:r>
            <a:r>
              <a:rPr lang="en-US" altLang="en-US" sz="1800" b="1" dirty="0"/>
              <a:t>.</a:t>
            </a:r>
            <a:r>
              <a:rPr lang="ru-RU" altLang="en-US" sz="1800" b="1" baseline="30000" dirty="0"/>
              <a:t> 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  <a:buFont typeface="Calibri" pitchFamily="34" charset="0"/>
              <a:buChar char="−"/>
              <a:tabLst>
                <a:tab pos="128588" algn="l"/>
              </a:tabLst>
            </a:pPr>
            <a:r>
              <a:rPr lang="ru-RU" altLang="en-US" sz="1800" b="1" i="1" u="sng" dirty="0">
                <a:solidFill>
                  <a:srgbClr val="0070C0"/>
                </a:solidFill>
              </a:rPr>
              <a:t>Гипертрофия и </a:t>
            </a:r>
            <a:r>
              <a:rPr lang="ru-RU" altLang="en-US" sz="1800" b="1" i="1" u="sng" dirty="0" err="1">
                <a:solidFill>
                  <a:srgbClr val="0070C0"/>
                </a:solidFill>
              </a:rPr>
              <a:t>ремоделирование</a:t>
            </a:r>
            <a:r>
              <a:rPr lang="ru-RU" altLang="en-US" sz="1800" b="1" dirty="0">
                <a:solidFill>
                  <a:srgbClr val="0070C0"/>
                </a:solidFill>
              </a:rPr>
              <a:t> </a:t>
            </a:r>
            <a:r>
              <a:rPr lang="ru-RU" altLang="en-US" sz="1800" b="1" dirty="0"/>
              <a:t>гладкой мускулатуры бронхов</a:t>
            </a:r>
            <a:r>
              <a:rPr lang="en-US" altLang="en-US" sz="1800" b="1" dirty="0"/>
              <a:t>.</a:t>
            </a:r>
            <a:endParaRPr lang="ru-RU" sz="1800" b="1" dirty="0"/>
          </a:p>
        </p:txBody>
      </p:sp>
      <p:sp>
        <p:nvSpPr>
          <p:cNvPr id="18433" name="Rectangle 1"/>
          <p:cNvSpPr>
            <a:spLocks noChangeArrowheads="1"/>
          </p:cNvSpPr>
          <p:nvPr/>
        </p:nvSpPr>
        <p:spPr bwMode="auto">
          <a:xfrm>
            <a:off x="2120784" y="5353240"/>
            <a:ext cx="4779000" cy="294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35" tIns="25718" rIns="51435" bIns="25718" numCol="1" anchor="ctr" anchorCtr="0" compatLnSpc="1">
            <a:prstTxWarp prst="textNoShape">
              <a:avLst/>
            </a:prstTxWarp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ru-RU" sz="788" b="1" i="1" dirty="0">
              <a:solidFill>
                <a:prstClr val="black"/>
              </a:solidFill>
              <a:cs typeface="Arial" pitchFamily="34" charset="0"/>
            </a:endParaRPr>
          </a:p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788" b="1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43006" y="5470187"/>
            <a:ext cx="6527347" cy="4734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92881" indent="-192881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Holgate S. T.,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Bradding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P., Sampson A. P.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Leukotriene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antagonists and synthesis inhibitors: new directions in asthma therapy // J Allergy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Clin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Immunol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. 1996; 98: 1–13. </a:t>
            </a:r>
            <a:endParaRPr lang="ru-RU" sz="619" b="1" i="1" dirty="0">
              <a:solidFill>
                <a:prstClr val="black"/>
              </a:solidFill>
              <a:ea typeface="Times New Roman" pitchFamily="18" charset="0"/>
              <a:cs typeface="Times New Roman" pitchFamily="18" charset="0"/>
            </a:endParaRPr>
          </a:p>
          <a:p>
            <a:pPr marL="192881" indent="-192881" defTabSz="457200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Shibata A.,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Katsunuma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N.,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Tomikawa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M., Tan A., Yuki K., Akashi K.,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Eto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Y. Increased </a:t>
            </a:r>
            <a:r>
              <a:rPr lang="en-US" sz="619" b="1" i="1" dirty="0" err="1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Leukotriene</a:t>
            </a:r>
            <a:r>
              <a:rPr lang="en-US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 E4 in the Exhaled Breath Condensate of Children With Mild Asthma // Chest. </a:t>
            </a:r>
            <a:r>
              <a:rPr lang="ru-RU" sz="619" b="1" i="1" dirty="0">
                <a:solidFill>
                  <a:prstClr val="black"/>
                </a:solidFill>
                <a:ea typeface="Times New Roman" pitchFamily="18" charset="0"/>
                <a:cs typeface="Times New Roman" pitchFamily="18" charset="0"/>
              </a:rPr>
              <a:t>2006; 130: 1718–1722.</a:t>
            </a:r>
            <a:endParaRPr lang="ru-RU" sz="619" b="1" i="1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44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solidFill>
            <a:srgbClr val="0070C0"/>
          </a:solidFill>
        </p:spPr>
        <p:txBody>
          <a:bodyPr>
            <a:no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+mn-lt"/>
              </a:rPr>
              <a:t>Антагонисты </a:t>
            </a:r>
            <a:r>
              <a:rPr lang="ru-RU" sz="2400" b="1" dirty="0" err="1">
                <a:solidFill>
                  <a:schemeClr val="bg1"/>
                </a:solidFill>
                <a:latin typeface="+mn-lt"/>
              </a:rPr>
              <a:t>лейкотриеновых</a:t>
            </a:r>
            <a:r>
              <a:rPr lang="ru-RU" sz="2400" b="1" dirty="0">
                <a:solidFill>
                  <a:schemeClr val="bg1"/>
                </a:solidFill>
                <a:latin typeface="+mn-lt"/>
              </a:rPr>
              <a:t> рецепторов: </a:t>
            </a:r>
            <a:br>
              <a:rPr lang="ru-RU" sz="2400" b="1" dirty="0">
                <a:solidFill>
                  <a:schemeClr val="bg1"/>
                </a:solidFill>
                <a:latin typeface="+mn-lt"/>
              </a:rPr>
            </a:br>
            <a:r>
              <a:rPr lang="ru-RU" sz="2400" b="1" dirty="0">
                <a:solidFill>
                  <a:schemeClr val="bg1"/>
                </a:solidFill>
                <a:latin typeface="+mn-lt"/>
              </a:rPr>
              <a:t>действие на дыхательные пути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110000"/>
              </a:lnSpc>
              <a:buNone/>
              <a:defRPr/>
            </a:pPr>
            <a:r>
              <a:rPr lang="ru-RU" sz="2800" b="1" dirty="0"/>
              <a:t>Механизм действия - </a:t>
            </a:r>
            <a:r>
              <a:rPr lang="ru-RU" sz="2800" b="1" dirty="0">
                <a:ea typeface="Arial Unicode MS" pitchFamily="34" charset="-128"/>
                <a:cs typeface="Calibri" pitchFamily="34" charset="0"/>
              </a:rPr>
              <a:t>⇓ </a:t>
            </a:r>
            <a:r>
              <a:rPr lang="ru-RU" sz="2800" b="1" dirty="0"/>
              <a:t>эффектов </a:t>
            </a:r>
            <a:r>
              <a:rPr lang="ru-RU" sz="2800" b="1" dirty="0" err="1"/>
              <a:t>цис-лейкотриенов</a:t>
            </a:r>
            <a:r>
              <a:rPr lang="ru-RU" sz="2800" b="1" dirty="0"/>
              <a:t>:</a:t>
            </a:r>
          </a:p>
          <a:p>
            <a:pPr>
              <a:lnSpc>
                <a:spcPct val="110000"/>
              </a:lnSpc>
              <a:buFont typeface="Calibri" pitchFamily="34" charset="0"/>
              <a:buChar char="−"/>
            </a:pPr>
            <a:r>
              <a:rPr lang="ru-RU" sz="2800" b="1" dirty="0">
                <a:solidFill>
                  <a:prstClr val="black"/>
                </a:solidFill>
              </a:rPr>
              <a:t>Оказывают слабое </a:t>
            </a:r>
            <a:r>
              <a:rPr lang="ru-RU" sz="2800" b="1" dirty="0" err="1">
                <a:solidFill>
                  <a:srgbClr val="0070C0"/>
                </a:solidFill>
              </a:rPr>
              <a:t>бронхолитическое</a:t>
            </a:r>
            <a:r>
              <a:rPr lang="ru-RU" sz="2800" b="1" dirty="0">
                <a:solidFill>
                  <a:prstClr val="black"/>
                </a:solidFill>
              </a:rPr>
              <a:t> действие</a:t>
            </a:r>
          </a:p>
          <a:p>
            <a:pPr>
              <a:lnSpc>
                <a:spcPct val="110000"/>
              </a:lnSpc>
              <a:buFont typeface="Calibri" pitchFamily="34" charset="0"/>
              <a:buChar char="−"/>
            </a:pPr>
            <a:r>
              <a:rPr lang="ru-RU" sz="2800" b="1" dirty="0"/>
              <a:t>Уменьшают</a:t>
            </a:r>
            <a:r>
              <a:rPr lang="ru-RU" sz="2800" b="1" dirty="0">
                <a:solidFill>
                  <a:srgbClr val="C00000"/>
                </a:solidFill>
              </a:rPr>
              <a:t> </a:t>
            </a:r>
            <a:r>
              <a:rPr lang="ru-RU" sz="2800" b="1" dirty="0">
                <a:solidFill>
                  <a:srgbClr val="0070C0"/>
                </a:solidFill>
              </a:rPr>
              <a:t>симптомы</a:t>
            </a:r>
            <a:r>
              <a:rPr lang="ru-RU" sz="2800" b="1" dirty="0">
                <a:solidFill>
                  <a:prstClr val="black"/>
                </a:solidFill>
              </a:rPr>
              <a:t>, включая кашель</a:t>
            </a:r>
          </a:p>
          <a:p>
            <a:pPr>
              <a:lnSpc>
                <a:spcPct val="110000"/>
              </a:lnSpc>
              <a:buFont typeface="Calibri" pitchFamily="34" charset="0"/>
              <a:buChar char="−"/>
            </a:pPr>
            <a:r>
              <a:rPr lang="ru-RU" sz="2800" b="1" dirty="0">
                <a:solidFill>
                  <a:prstClr val="black"/>
                </a:solidFill>
              </a:rPr>
              <a:t>Улучшают </a:t>
            </a:r>
            <a:r>
              <a:rPr lang="ru-RU" sz="2800" b="1" dirty="0">
                <a:solidFill>
                  <a:srgbClr val="0070C0"/>
                </a:solidFill>
              </a:rPr>
              <a:t>функцию легких </a:t>
            </a:r>
          </a:p>
          <a:p>
            <a:pPr>
              <a:lnSpc>
                <a:spcPct val="110000"/>
              </a:lnSpc>
              <a:buFont typeface="Calibri" pitchFamily="34" charset="0"/>
              <a:buChar char="−"/>
            </a:pPr>
            <a:r>
              <a:rPr lang="ru-RU" sz="2800" b="1" dirty="0">
                <a:solidFill>
                  <a:prstClr val="black"/>
                </a:solidFill>
              </a:rPr>
              <a:t>Уменьшают </a:t>
            </a:r>
            <a:r>
              <a:rPr lang="ru-RU" sz="2800" b="1" dirty="0">
                <a:solidFill>
                  <a:srgbClr val="0070C0"/>
                </a:solidFill>
              </a:rPr>
              <a:t>воспаление дыхательных путей </a:t>
            </a:r>
          </a:p>
          <a:p>
            <a:pPr>
              <a:lnSpc>
                <a:spcPct val="110000"/>
              </a:lnSpc>
              <a:buFont typeface="Calibri" pitchFamily="34" charset="0"/>
              <a:buChar char="−"/>
            </a:pPr>
            <a:r>
              <a:rPr lang="ru-RU" sz="2800" b="1" dirty="0">
                <a:solidFill>
                  <a:prstClr val="black"/>
                </a:solidFill>
              </a:rPr>
              <a:t>Уменьшают  </a:t>
            </a:r>
            <a:r>
              <a:rPr lang="ru-RU" sz="2800" b="1" dirty="0">
                <a:solidFill>
                  <a:srgbClr val="0070C0"/>
                </a:solidFill>
              </a:rPr>
              <a:t>частоту обострений астмы</a:t>
            </a:r>
          </a:p>
          <a:p>
            <a:pPr>
              <a:lnSpc>
                <a:spcPct val="120000"/>
              </a:lnSpc>
              <a:buFont typeface="Calibri" pitchFamily="34" charset="0"/>
              <a:buChar char="−"/>
            </a:pP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14030" y="6116171"/>
            <a:ext cx="551821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US" sz="900" b="1" i="1" dirty="0">
                <a:solidFill>
                  <a:prstClr val="black"/>
                </a:solidFill>
              </a:rPr>
              <a:t>EAACI 2012 </a:t>
            </a:r>
            <a:r>
              <a:rPr lang="en-US" sz="900" b="1" i="1" dirty="0" err="1">
                <a:solidFill>
                  <a:prstClr val="black"/>
                </a:solidFill>
              </a:rPr>
              <a:t>Davos</a:t>
            </a:r>
            <a:r>
              <a:rPr lang="en-US" sz="900" b="1" i="1" dirty="0">
                <a:solidFill>
                  <a:prstClr val="black"/>
                </a:solidFill>
              </a:rPr>
              <a:t> – Asthma treatment – current gold standard and future option</a:t>
            </a:r>
            <a:r>
              <a:rPr lang="ru-RU" sz="900" b="1" i="1" dirty="0">
                <a:solidFill>
                  <a:prstClr val="black"/>
                </a:solidFill>
              </a:rPr>
              <a:t> </a:t>
            </a:r>
            <a:r>
              <a:rPr lang="en-US" sz="900" b="1" i="1" dirty="0">
                <a:solidFill>
                  <a:prstClr val="black"/>
                </a:solidFill>
              </a:rPr>
              <a:t>s Oliver Fuchs </a:t>
            </a:r>
            <a:endParaRPr lang="ru-RU" sz="900" b="1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6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solidFill>
            <a:srgbClr val="0070C0"/>
          </a:solidFill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chemeClr val="bg1"/>
                </a:solidFill>
                <a:latin typeface="+mn-lt"/>
              </a:rPr>
              <a:t>Когда целесообразно назначение </a:t>
            </a:r>
            <a:r>
              <a:rPr lang="ru-RU" sz="2400" b="1" dirty="0" err="1">
                <a:solidFill>
                  <a:schemeClr val="bg1"/>
                </a:solidFill>
                <a:latin typeface="+mn-lt"/>
              </a:rPr>
              <a:t>антилейкотриеновых</a:t>
            </a:r>
            <a:r>
              <a:rPr lang="ru-RU" sz="2400" b="1" dirty="0">
                <a:solidFill>
                  <a:schemeClr val="bg1"/>
                </a:solidFill>
                <a:latin typeface="+mn-lt"/>
              </a:rPr>
              <a:t> препаратов? </a:t>
            </a:r>
          </a:p>
        </p:txBody>
      </p:sp>
      <p:sp>
        <p:nvSpPr>
          <p:cNvPr id="4" name="Подзаголовок 3"/>
          <p:cNvSpPr>
            <a:spLocks noGrp="1"/>
          </p:cNvSpPr>
          <p:nvPr>
            <p:ph sz="half" idx="1"/>
          </p:nvPr>
        </p:nvSpPr>
        <p:spPr>
          <a:xfrm>
            <a:off x="986883" y="1600201"/>
            <a:ext cx="4956718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1800" b="1" u="sng" dirty="0"/>
              <a:t>Фенотипы БА с высоким уровнем </a:t>
            </a:r>
            <a:r>
              <a:rPr lang="ru-RU" sz="1800" b="1" u="sng" dirty="0" err="1"/>
              <a:t>лейкотриенов</a:t>
            </a:r>
            <a:r>
              <a:rPr lang="ru-RU" sz="1800" b="1" u="sng" dirty="0"/>
              <a:t>: 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 err="1">
                <a:cs typeface="Arial" pitchFamily="34" charset="0"/>
              </a:rPr>
              <a:t>Аспириновая</a:t>
            </a:r>
            <a:r>
              <a:rPr lang="ru-RU" sz="1800" b="1" dirty="0">
                <a:cs typeface="Arial" pitchFamily="34" charset="0"/>
              </a:rPr>
              <a:t> БА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БА у пожилых 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Аллергическая БА с сопутствующим  АР 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БА у курящих пациентов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БА у пациентов с ожирением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Кашлевой вариант БА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БА с вирус-индуцированными обострениями</a:t>
            </a:r>
          </a:p>
          <a:p>
            <a:pPr marL="216992" indent="-216992" fontAlgn="base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rgbClr val="A5AB81"/>
              </a:buClr>
              <a:buFont typeface="Times New Roman" pitchFamily="18" charset="0"/>
              <a:buChar char="–"/>
              <a:defRPr/>
            </a:pPr>
            <a:r>
              <a:rPr lang="ru-RU" sz="1800" b="1" dirty="0">
                <a:cs typeface="Arial" pitchFamily="34" charset="0"/>
              </a:rPr>
              <a:t>БА, обусловленная физической нагрузкой</a:t>
            </a:r>
            <a:endParaRPr lang="ru-RU" sz="1800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143003" y="6064843"/>
            <a:ext cx="6539593" cy="5599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/>
            <a:r>
              <a:rPr lang="ru-RU" sz="1013" b="1" i="1" dirty="0">
                <a:solidFill>
                  <a:prstClr val="black"/>
                </a:solidFill>
                <a:ea typeface="Times New Roman" panose="02020603050405020304" pitchFamily="18" charset="0"/>
              </a:rPr>
              <a:t>Н.М. Ненашева. </a:t>
            </a:r>
            <a:r>
              <a:rPr lang="ru-RU" sz="1013" b="1" i="1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Антагонисты </a:t>
            </a:r>
            <a:r>
              <a:rPr lang="ru-RU" sz="1013" b="1" i="1" dirty="0" err="1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лейкотриеновых</a:t>
            </a:r>
            <a:r>
              <a:rPr lang="ru-RU" sz="1013" b="1" i="1" dirty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рецепторов в терапии бронхиальной астмы: кому, когда, как долго? </a:t>
            </a:r>
            <a:r>
              <a:rPr lang="ru-RU" sz="1013" b="1" i="1" dirty="0">
                <a:solidFill>
                  <a:prstClr val="black"/>
                </a:solidFill>
              </a:rPr>
              <a:t>Эффективная фармакотерапия. Аллергология и иммунология" №1 (6) | 2018. Стр. 8-19</a:t>
            </a:r>
            <a:endParaRPr lang="ru-RU" sz="900" b="1" i="1" dirty="0">
              <a:solidFill>
                <a:prstClr val="black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9600" y="2277679"/>
            <a:ext cx="1498500" cy="254972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perspectiveRigh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62354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371600" y="2514600"/>
            <a:ext cx="7123113" cy="685800"/>
          </a:xfrm>
        </p:spPr>
        <p:txBody>
          <a:bodyPr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buFont typeface="Wingdings"/>
              <a:buNone/>
              <a:defRPr/>
            </a:pPr>
            <a:r>
              <a:rPr lang="ru-RU" sz="4000" b="1" dirty="0" err="1" smtClean="0"/>
              <a:t>монтелукаст</a:t>
            </a:r>
            <a:endParaRPr lang="en-US" sz="4000" b="1" dirty="0"/>
          </a:p>
        </p:txBody>
      </p:sp>
      <p:sp>
        <p:nvSpPr>
          <p:cNvPr id="17920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 sz="5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ИНГЛОН</a:t>
            </a:r>
            <a:endParaRPr lang="en-US" altLang="ru-RU" sz="5400" b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9204" name="TextBox 3"/>
          <p:cNvSpPr txBox="1">
            <a:spLocks noChangeArrowheads="1"/>
          </p:cNvSpPr>
          <p:nvPr/>
        </p:nvSpPr>
        <p:spPr bwMode="auto">
          <a:xfrm>
            <a:off x="1371600" y="3124200"/>
            <a:ext cx="7239000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sz="2800" smtClean="0">
                <a:solidFill>
                  <a:srgbClr val="1E5D15"/>
                </a:solidFill>
                <a:latin typeface="Calibri" pitchFamily="34" charset="0"/>
              </a:rPr>
              <a:t>Высокая степень сродства и избирательность по отношению к </a:t>
            </a:r>
            <a:r>
              <a:rPr lang="en-US" altLang="ru-RU" sz="2800" smtClean="0">
                <a:solidFill>
                  <a:srgbClr val="1E5D15"/>
                </a:solidFill>
                <a:latin typeface="Tw Cen MT" pitchFamily="34" charset="0"/>
              </a:rPr>
              <a:t>CysLT1 </a:t>
            </a:r>
            <a:r>
              <a:rPr lang="ru-RU" altLang="ru-RU" sz="2800" smtClean="0">
                <a:solidFill>
                  <a:srgbClr val="1E5D15"/>
                </a:solidFill>
                <a:latin typeface="Calibri" pitchFamily="34" charset="0"/>
              </a:rPr>
              <a:t>рецепторам</a:t>
            </a:r>
            <a:endParaRPr lang="en-US" altLang="ru-RU" sz="2800" smtClean="0">
              <a:solidFill>
                <a:srgbClr val="1E5D15"/>
              </a:solidFill>
              <a:latin typeface="Tw Cen MT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09600" y="4038600"/>
            <a:ext cx="7924800" cy="2819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Wingdings" pitchFamily="2" charset="2"/>
              <a:buChar char="§"/>
              <a:defRPr/>
            </a:pPr>
            <a:r>
              <a:rPr lang="ru-RU" sz="2400" dirty="0" err="1">
                <a:solidFill>
                  <a:srgbClr val="FFFFFF"/>
                </a:solidFill>
              </a:rPr>
              <a:t>Бронходилатация</a:t>
            </a:r>
            <a:endParaRPr lang="ru-RU" sz="2400" dirty="0">
              <a:solidFill>
                <a:srgbClr val="FFFFFF"/>
              </a:solidFill>
            </a:endParaRP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Снижение количества эозинофилов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Уменьшение дневных и ночных симптомов БА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Увеличение объема форсированного выдоха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Увеличение максимальной объемной скорости выдоха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Улучшение контроля бронхиальной астмы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2400" dirty="0">
                <a:solidFill>
                  <a:srgbClr val="FFFFFF"/>
                </a:solidFill>
              </a:rPr>
              <a:t>Снижение потребности в </a:t>
            </a:r>
            <a:r>
              <a:rPr lang="el-GR" sz="2400" dirty="0">
                <a:solidFill>
                  <a:srgbClr val="FFFFFF"/>
                </a:solidFill>
              </a:rPr>
              <a:t>β</a:t>
            </a:r>
            <a:r>
              <a:rPr lang="ru-RU" sz="2400" dirty="0">
                <a:solidFill>
                  <a:srgbClr val="FFFFFF"/>
                </a:solidFill>
              </a:rPr>
              <a:t>-</a:t>
            </a:r>
            <a:r>
              <a:rPr lang="ru-RU" sz="2400" dirty="0" err="1">
                <a:solidFill>
                  <a:srgbClr val="FFFFFF"/>
                </a:solidFill>
              </a:rPr>
              <a:t>агонистах</a:t>
            </a:r>
            <a:endParaRPr lang="ru-RU" sz="2400" dirty="0">
              <a:solidFill>
                <a:srgbClr val="FFFFFF"/>
              </a:solidFill>
            </a:endParaRPr>
          </a:p>
        </p:txBody>
      </p:sp>
      <p:pic>
        <p:nvPicPr>
          <p:cNvPr id="179206" name="Picture 6" descr="D:\RG\+ГЕДЕОН РИХТЕР препараты\MONTELUKAST\картинки\images мыль пуз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4600" y="1600200"/>
            <a:ext cx="2282825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29843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allAtOnce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0066" name="Picture 2" descr="C:\Users\Klim\Desktop\слайды\IMG_274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850313" cy="663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463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1090" name="Picture 2" descr="C:\Users\Klim\Desktop\слайды\IMG_274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" y="0"/>
            <a:ext cx="8916988" cy="668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312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2114" name="Picture 2" descr="C:\Users\Klim\Desktop\слайды\IMG_274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0"/>
            <a:ext cx="9036050" cy="683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6865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b="1" dirty="0" smtClean="0">
                <a:solidFill>
                  <a:schemeClr val="bg2">
                    <a:lumMod val="50000"/>
                  </a:schemeClr>
                </a:solidFill>
              </a:rPr>
              <a:t>БРОНХИАЛЬНАЯ АСТМА</a:t>
            </a:r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quarter" idx="2"/>
          </p:nvPr>
        </p:nvSpPr>
        <p:spPr>
          <a:xfrm>
            <a:off x="228600" y="2057400"/>
            <a:ext cx="8915400" cy="1600200"/>
          </a:xfrm>
        </p:spPr>
        <p:txBody>
          <a:bodyPr>
            <a:noAutofit/>
          </a:bodyPr>
          <a:lstStyle/>
          <a:p>
            <a:pPr marL="0" indent="0" eaLnBrk="1" fontAlgn="auto" hangingPunct="1"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2400" b="1" dirty="0" smtClean="0">
                <a:solidFill>
                  <a:srgbClr val="000000"/>
                </a:solidFill>
              </a:rPr>
              <a:t>ВНЕШНИЕ</a:t>
            </a:r>
          </a:p>
          <a:p>
            <a:pPr marL="320040" indent="-320040" eaLnBrk="1" fontAlgn="auto" hangingPunct="1">
              <a:spcAft>
                <a:spcPts val="0"/>
              </a:spcAft>
              <a:buFont typeface="Wingdings"/>
              <a:buChar char=""/>
              <a:defRPr/>
            </a:pPr>
            <a:r>
              <a:rPr lang="ru-RU" sz="2200" b="1" dirty="0" smtClean="0">
                <a:solidFill>
                  <a:srgbClr val="000000"/>
                </a:solidFill>
              </a:rPr>
              <a:t>Аллергены</a:t>
            </a:r>
          </a:p>
          <a:p>
            <a:pPr marL="536575">
              <a:defRPr/>
            </a:pPr>
            <a:r>
              <a:rPr lang="ru-RU" sz="2000" b="1" dirty="0" smtClean="0">
                <a:solidFill>
                  <a:srgbClr val="000000"/>
                </a:solidFill>
              </a:rPr>
              <a:t>клещи домашней пыли, шерсть домашних животных (собак, кошек, мышей), пыльца</a:t>
            </a:r>
            <a:r>
              <a:rPr lang="ru-RU" sz="2000" b="1" dirty="0">
                <a:solidFill>
                  <a:srgbClr val="000000"/>
                </a:solidFill>
              </a:rPr>
              <a:t>, </a:t>
            </a:r>
            <a:r>
              <a:rPr lang="ru-RU" sz="2000" b="1" dirty="0" smtClean="0">
                <a:solidFill>
                  <a:srgbClr val="000000"/>
                </a:solidFill>
              </a:rPr>
              <a:t>грибки (плесневые и дрожжевые)</a:t>
            </a:r>
            <a:endParaRPr lang="ru-RU" sz="2000" b="1" dirty="0">
              <a:solidFill>
                <a:srgbClr val="000000"/>
              </a:solidFill>
            </a:endParaRPr>
          </a:p>
        </p:txBody>
      </p:sp>
      <p:sp>
        <p:nvSpPr>
          <p:cNvPr id="337924" name="Текст 4"/>
          <p:cNvSpPr>
            <a:spLocks noGrp="1"/>
          </p:cNvSpPr>
          <p:nvPr>
            <p:ph type="body" sz="quarter" idx="1"/>
          </p:nvPr>
        </p:nvSpPr>
        <p:spPr>
          <a:xfrm>
            <a:off x="2771800" y="1556793"/>
            <a:ext cx="3886200" cy="639763"/>
          </a:xfrm>
        </p:spPr>
        <p:txBody>
          <a:bodyPr/>
          <a:lstStyle/>
          <a:p>
            <a:pPr algn="ctr" eaLnBrk="1" hangingPunct="1"/>
            <a:r>
              <a:rPr lang="ru-RU" altLang="ru-RU" sz="2800" dirty="0" smtClean="0">
                <a:solidFill>
                  <a:schemeClr val="tx1"/>
                </a:solidFill>
              </a:rPr>
              <a:t>Факторы риска</a:t>
            </a:r>
            <a:endParaRPr lang="en-US" altLang="ru-RU" sz="2800" dirty="0" smtClean="0">
              <a:solidFill>
                <a:schemeClr val="tx1"/>
              </a:solidFill>
            </a:endParaRPr>
          </a:p>
        </p:txBody>
      </p:sp>
      <p:pic>
        <p:nvPicPr>
          <p:cNvPr id="337925" name="Picture 5" descr="Common Asthma Trigge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146" y="3657600"/>
            <a:ext cx="3636962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одержимое 2"/>
          <p:cNvSpPr>
            <a:spLocks noGrp="1"/>
          </p:cNvSpPr>
          <p:nvPr>
            <p:ph sz="quarter" idx="2"/>
          </p:nvPr>
        </p:nvSpPr>
        <p:spPr>
          <a:xfrm>
            <a:off x="228600" y="3962403"/>
            <a:ext cx="5181600" cy="2439988"/>
          </a:xfrm>
        </p:spPr>
        <p:txBody>
          <a:bodyPr/>
          <a:lstStyle/>
          <a:p>
            <a:r>
              <a:rPr lang="ru-RU" altLang="ru-RU" sz="2200" b="1" dirty="0" smtClean="0">
                <a:solidFill>
                  <a:srgbClr val="FF0000"/>
                </a:solidFill>
              </a:rPr>
              <a:t>Инфекции </a:t>
            </a:r>
            <a:r>
              <a:rPr lang="ru-RU" altLang="ru-RU" sz="2000" b="1" dirty="0" smtClean="0">
                <a:solidFill>
                  <a:srgbClr val="FF0000"/>
                </a:solidFill>
              </a:rPr>
              <a:t>(главным образом, вирусные)</a:t>
            </a:r>
          </a:p>
          <a:p>
            <a:r>
              <a:rPr lang="ru-RU" altLang="ru-RU" sz="2200" b="1" dirty="0" smtClean="0">
                <a:solidFill>
                  <a:srgbClr val="000000"/>
                </a:solidFill>
              </a:rPr>
              <a:t>Профессиональные сенсибилизаторы</a:t>
            </a:r>
          </a:p>
          <a:p>
            <a:r>
              <a:rPr lang="ru-RU" altLang="ru-RU" sz="2200" b="1" dirty="0" smtClean="0">
                <a:solidFill>
                  <a:srgbClr val="000000"/>
                </a:solidFill>
              </a:rPr>
              <a:t>Курение табака </a:t>
            </a:r>
            <a:r>
              <a:rPr lang="ru-RU" altLang="ru-RU" sz="2000" dirty="0" smtClean="0">
                <a:solidFill>
                  <a:srgbClr val="000000"/>
                </a:solidFill>
              </a:rPr>
              <a:t>(активное и пассивное)</a:t>
            </a:r>
          </a:p>
          <a:p>
            <a:r>
              <a:rPr lang="ru-RU" altLang="ru-RU" sz="2200" b="1" dirty="0" smtClean="0">
                <a:solidFill>
                  <a:srgbClr val="000000"/>
                </a:solidFill>
              </a:rPr>
              <a:t>Загрязнение воздуха внутри и снаружи помещений</a:t>
            </a:r>
          </a:p>
          <a:p>
            <a:r>
              <a:rPr lang="ru-RU" altLang="ru-RU" sz="2200" b="1" dirty="0" smtClean="0">
                <a:solidFill>
                  <a:srgbClr val="000000"/>
                </a:solidFill>
              </a:rPr>
              <a:t>Питание</a:t>
            </a:r>
          </a:p>
        </p:txBody>
      </p:sp>
    </p:spTree>
    <p:extLst>
      <p:ext uri="{BB962C8B-B14F-4D97-AF65-F5344CB8AC3E}">
        <p14:creationId xmlns:p14="http://schemas.microsoft.com/office/powerpoint/2010/main" val="27460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allAtOnce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8942388" cy="9842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Алгоритм базисной фармакотерапии</a:t>
            </a:r>
            <a:endParaRPr lang="en-US" sz="2000" b="1" kern="0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altLang="en-US" sz="2000" b="1" kern="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Национальная программа «Бронхиальная астма у детей»,  2017 год</a:t>
            </a:r>
          </a:p>
          <a:p>
            <a:pPr algn="ctr">
              <a:defRPr/>
            </a:pPr>
            <a:endParaRPr lang="ru-RU" b="1" kern="0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graphicFrame>
        <p:nvGraphicFramePr>
          <p:cNvPr id="605187" name="Object 5"/>
          <p:cNvGraphicFramePr>
            <a:graphicFrameLocks noChangeAspect="1"/>
          </p:cNvGraphicFramePr>
          <p:nvPr/>
        </p:nvGraphicFramePr>
        <p:xfrm>
          <a:off x="153988" y="787400"/>
          <a:ext cx="8953500" cy="543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Документ" r:id="rId4" imgW="7360706" imgH="4466233" progId="Word.Document.12">
                  <p:embed/>
                </p:oleObj>
              </mc:Choice>
              <mc:Fallback>
                <p:oleObj name="Документ" r:id="rId4" imgW="7360706" imgH="4466233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988" y="787400"/>
                        <a:ext cx="8953500" cy="5432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5995988"/>
            <a:ext cx="8942388" cy="93821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А – бронхиальная астма; ИГКС – ингаляционные глюкокортикостероиды; АЛР – антилейкотриеновые препараты; ДД – длительного действия;  ИГ-Е- иммуноглобулин Е; ИГКС-ингаляционные глюкокортикостероиды;</a:t>
            </a:r>
          </a:p>
          <a:p>
            <a:pPr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defRPr/>
            </a:pPr>
            <a:r>
              <a:rPr lang="ru-RU" sz="11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циональная программа «Бронхиальная астма у детей. Стратегия лечения и профилактика». - 5-е изд., </a:t>
            </a:r>
            <a:r>
              <a:rPr lang="ru-RU" sz="1100" b="1" kern="0" dirty="0" err="1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раб</a:t>
            </a:r>
            <a:r>
              <a:rPr lang="ru-RU" sz="1100" b="1" kern="0" dirty="0">
                <a:solidFill>
                  <a:sysClr val="windowText" lastClr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и доп. – Москва : Оригинал-макет, 2017. – 160 с.</a:t>
            </a:r>
          </a:p>
        </p:txBody>
      </p:sp>
      <p:sp>
        <p:nvSpPr>
          <p:cNvPr id="5" name="Овал 4"/>
          <p:cNvSpPr/>
          <p:nvPr/>
        </p:nvSpPr>
        <p:spPr>
          <a:xfrm>
            <a:off x="2700338" y="3603625"/>
            <a:ext cx="5435600" cy="28892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811463" y="5354638"/>
            <a:ext cx="5437187" cy="2873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579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6210" name="Объект 2"/>
          <p:cNvSpPr>
            <a:spLocks noGrp="1"/>
          </p:cNvSpPr>
          <p:nvPr>
            <p:ph idx="1"/>
          </p:nvPr>
        </p:nvSpPr>
        <p:spPr>
          <a:xfrm>
            <a:off x="566738" y="1412875"/>
            <a:ext cx="8010525" cy="4486275"/>
          </a:xfrm>
        </p:spPr>
        <p:txBody>
          <a:bodyPr/>
          <a:lstStyle/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Уровень IgE коррелирует с тяжестью симптомов БА. </a:t>
            </a:r>
          </a:p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Более высокий уровень общего IgE достоверно связан</a:t>
            </a:r>
            <a:r>
              <a:rPr lang="en-US" sz="2800" b="1" baseline="30000" smtClean="0"/>
              <a:t>1</a:t>
            </a:r>
            <a:r>
              <a:rPr lang="ru-RU" sz="2800" b="1" smtClean="0"/>
              <a:t>:</a:t>
            </a:r>
          </a:p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• с более выраженными симптомами;</a:t>
            </a:r>
          </a:p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• с более тяжелой обструкцией;</a:t>
            </a:r>
          </a:p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• с повышенным риском госпитализации;</a:t>
            </a:r>
          </a:p>
          <a:p>
            <a:pPr marL="0" indent="0" eaLnBrk="1" hangingPunct="1">
              <a:buFont typeface="Arial" pitchFamily="34" charset="0"/>
              <a:buNone/>
            </a:pPr>
            <a:r>
              <a:rPr lang="ru-RU" sz="2800" b="1" smtClean="0"/>
              <a:t>• с более частым использованием ингаляционных глюкокортикостероидов (ИГКС).</a:t>
            </a:r>
          </a:p>
          <a:p>
            <a:pPr marL="0" indent="0" eaLnBrk="1" hangingPunct="1">
              <a:buFont typeface="Arial" pitchFamily="34" charset="0"/>
              <a:buNone/>
            </a:pPr>
            <a:endParaRPr lang="ru-RU" smtClean="0"/>
          </a:p>
        </p:txBody>
      </p:sp>
      <p:sp>
        <p:nvSpPr>
          <p:cNvPr id="606211" name="TextBox 3"/>
          <p:cNvSpPr txBox="1">
            <a:spLocks noChangeArrowheads="1"/>
          </p:cNvSpPr>
          <p:nvPr/>
        </p:nvSpPr>
        <p:spPr bwMode="auto">
          <a:xfrm>
            <a:off x="454025" y="6429375"/>
            <a:ext cx="79660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smtClean="0">
                <a:solidFill>
                  <a:srgbClr val="000000"/>
                </a:solidFill>
              </a:rPr>
              <a:t>Carroll W.D. et al. Arch. Dis. Child. 2006. 91: 405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100" b="1" smtClean="0">
              <a:solidFill>
                <a:srgbClr val="000000"/>
              </a:solidFill>
            </a:endParaRPr>
          </a:p>
        </p:txBody>
      </p:sp>
      <p:sp>
        <p:nvSpPr>
          <p:cNvPr id="606212" name="Заголовок 1"/>
          <p:cNvSpPr txBox="1">
            <a:spLocks/>
          </p:cNvSpPr>
          <p:nvPr/>
        </p:nvSpPr>
        <p:spPr bwMode="auto">
          <a:xfrm>
            <a:off x="628650" y="365125"/>
            <a:ext cx="7886700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858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6858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6858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6858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6858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200" b="1" smtClean="0">
                <a:solidFill>
                  <a:srgbClr val="000000"/>
                </a:solidFill>
              </a:rPr>
              <a:t>IgE </a:t>
            </a:r>
            <a:r>
              <a:rPr lang="ru-RU" sz="3200" b="1" smtClean="0">
                <a:solidFill>
                  <a:srgbClr val="000000"/>
                </a:solidFill>
              </a:rPr>
              <a:t>играет ключевую роль в каскаде аллергических реакций</a:t>
            </a:r>
          </a:p>
        </p:txBody>
      </p:sp>
      <p:sp>
        <p:nvSpPr>
          <p:cNvPr id="606213" name="TextBox 4"/>
          <p:cNvSpPr txBox="1">
            <a:spLocks noChangeArrowheads="1"/>
          </p:cNvSpPr>
          <p:nvPr/>
        </p:nvSpPr>
        <p:spPr bwMode="auto">
          <a:xfrm>
            <a:off x="454025" y="6049963"/>
            <a:ext cx="17018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1" smtClean="0">
                <a:solidFill>
                  <a:srgbClr val="000000"/>
                </a:solidFill>
              </a:rPr>
              <a:t>БА-бронхиальная атма;</a:t>
            </a:r>
          </a:p>
        </p:txBody>
      </p:sp>
    </p:spTree>
    <p:extLst>
      <p:ext uri="{BB962C8B-B14F-4D97-AF65-F5344CB8AC3E}">
        <p14:creationId xmlns:p14="http://schemas.microsoft.com/office/powerpoint/2010/main" val="373116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234" name="Title 1"/>
          <p:cNvSpPr>
            <a:spLocks noGrp="1"/>
          </p:cNvSpPr>
          <p:nvPr>
            <p:ph type="title"/>
          </p:nvPr>
        </p:nvSpPr>
        <p:spPr>
          <a:xfrm>
            <a:off x="387350" y="365125"/>
            <a:ext cx="8756650" cy="1325563"/>
          </a:xfrm>
        </p:spPr>
        <p:txBody>
          <a:bodyPr/>
          <a:lstStyle/>
          <a:p>
            <a:pPr eaLnBrk="1" hangingPunct="1"/>
            <a:r>
              <a:rPr lang="ru-RU" sz="2800" b="1" smtClean="0">
                <a:latin typeface="Arial" pitchFamily="34" charset="0"/>
                <a:cs typeface="Arial" pitchFamily="34" charset="0"/>
              </a:rPr>
              <a:t>Анти-</a:t>
            </a:r>
            <a:r>
              <a:rPr lang="en-US" sz="2800" b="1" smtClean="0">
                <a:latin typeface="Arial" pitchFamily="34" charset="0"/>
                <a:cs typeface="Arial" pitchFamily="34" charset="0"/>
              </a:rPr>
              <a:t>IgE</a:t>
            </a:r>
            <a:r>
              <a:rPr lang="ru-RU" sz="2800" b="1" smtClean="0">
                <a:latin typeface="Arial" pitchFamily="34" charset="0"/>
                <a:cs typeface="Arial" pitchFamily="34" charset="0"/>
              </a:rPr>
              <a:t> терапия бронхиальной астмы: омализумаб</a:t>
            </a:r>
          </a:p>
        </p:txBody>
      </p:sp>
      <p:sp>
        <p:nvSpPr>
          <p:cNvPr id="607235" name="TextBox 3"/>
          <p:cNvSpPr txBox="1">
            <a:spLocks noChangeArrowheads="1"/>
          </p:cNvSpPr>
          <p:nvPr/>
        </p:nvSpPr>
        <p:spPr bwMode="auto">
          <a:xfrm>
            <a:off x="220663" y="6516688"/>
            <a:ext cx="892333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smtClean="0">
                <a:solidFill>
                  <a:srgbClr val="000000"/>
                </a:solidFill>
              </a:rPr>
              <a:t>Инструкция по </a:t>
            </a:r>
            <a:r>
              <a:rPr lang="ru-RU" sz="1000" smtClean="0">
                <a:solidFill>
                  <a:srgbClr val="000000"/>
                </a:solidFill>
              </a:rPr>
              <a:t>применению</a:t>
            </a:r>
            <a:r>
              <a:rPr lang="ru-RU" sz="900" smtClean="0">
                <a:solidFill>
                  <a:srgbClr val="000000"/>
                </a:solidFill>
              </a:rPr>
              <a:t> лекарственного препарата для медицинского применения Ксолар (ЛСР-000082 от 29.05.2007)</a:t>
            </a:r>
          </a:p>
        </p:txBody>
      </p:sp>
      <p:sp>
        <p:nvSpPr>
          <p:cNvPr id="607236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Font typeface="Arial" pitchFamily="34" charset="0"/>
              <a:buNone/>
            </a:pPr>
            <a:r>
              <a:rPr lang="ru-RU" sz="2600" b="1" smtClean="0"/>
              <a:t>Механизм действия: </a:t>
            </a:r>
          </a:p>
          <a:p>
            <a:pPr marL="0" indent="0" algn="ctr" eaLnBrk="1" hangingPunct="1">
              <a:buFont typeface="Arial" pitchFamily="34" charset="0"/>
              <a:buNone/>
            </a:pPr>
            <a:r>
              <a:rPr lang="ru-RU" sz="2600" b="1" smtClean="0"/>
              <a:t>Омализумаб связывает свободный </a:t>
            </a:r>
            <a:r>
              <a:rPr lang="en-US" sz="2600" b="1" smtClean="0"/>
              <a:t>IgE</a:t>
            </a:r>
            <a:r>
              <a:rPr lang="ru-RU" sz="2600" b="1" smtClean="0"/>
              <a:t> и способствует снижению количества</a:t>
            </a:r>
            <a:r>
              <a:rPr lang="en-US" sz="2600" b="1" smtClean="0"/>
              <a:t>Fc</a:t>
            </a:r>
            <a:r>
              <a:rPr lang="el-GR" sz="2600" b="1" smtClean="0"/>
              <a:t>ε</a:t>
            </a:r>
            <a:r>
              <a:rPr lang="en-US" sz="2600" b="1" smtClean="0"/>
              <a:t>RI-</a:t>
            </a:r>
            <a:r>
              <a:rPr lang="ru-RU" sz="2600" b="1" smtClean="0"/>
              <a:t>рецепторов на поверхности базофилов  </a:t>
            </a:r>
          </a:p>
          <a:p>
            <a:pPr marL="0" indent="0" algn="ctr" eaLnBrk="1" hangingPunct="1">
              <a:buFont typeface="Arial" pitchFamily="34" charset="0"/>
              <a:buNone/>
            </a:pPr>
            <a:r>
              <a:rPr lang="ru-RU" sz="2600" b="1" smtClean="0">
                <a:solidFill>
                  <a:srgbClr val="FF0000"/>
                </a:solidFill>
              </a:rPr>
              <a:t>↓</a:t>
            </a:r>
          </a:p>
          <a:p>
            <a:pPr marL="0" indent="0" algn="ctr" eaLnBrk="1" hangingPunct="1">
              <a:buFont typeface="Arial" pitchFamily="34" charset="0"/>
              <a:buNone/>
            </a:pPr>
            <a:r>
              <a:rPr lang="ru-RU" sz="2600" b="1" smtClean="0"/>
              <a:t>   Это приводит к снижению количества свободного IgE, который является пусковым фактором для каскада аллергических реакций</a:t>
            </a:r>
            <a:r>
              <a:rPr lang="ru-RU" b="1" smtClean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70534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2">
            <a:extLst>
              <a:ext uri="{FF2B5EF4-FFF2-40B4-BE49-F238E27FC236}">
                <a16:creationId xmlns="" xmlns:a16="http://schemas.microsoft.com/office/drawing/2014/main" id="{46EB183E-D6A6-4716-A851-6DF9203C470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28650" y="188913"/>
            <a:ext cx="8191500" cy="1501775"/>
          </a:xfrm>
        </p:spPr>
        <p:txBody>
          <a:bodyPr/>
          <a:lstStyle/>
          <a:p>
            <a:r>
              <a:rPr lang="ru-RU" altLang="ru-RU"/>
              <a:t>Роль омализумаба  в терапии БА у детей</a:t>
            </a:r>
            <a:endParaRPr lang="en-GB" altLang="ru-RU"/>
          </a:p>
        </p:txBody>
      </p:sp>
      <p:sp>
        <p:nvSpPr>
          <p:cNvPr id="90115" name="Rectangle 3">
            <a:extLst>
              <a:ext uri="{FF2B5EF4-FFF2-40B4-BE49-F238E27FC236}">
                <a16:creationId xmlns="" xmlns:a16="http://schemas.microsoft.com/office/drawing/2014/main" id="{07A73590-03C2-48BA-863E-669B74F98E6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30225" y="1298575"/>
            <a:ext cx="8002588" cy="4289425"/>
          </a:xfrm>
        </p:spPr>
        <p:txBody>
          <a:bodyPr/>
          <a:lstStyle/>
          <a:p>
            <a:pPr>
              <a:spcAft>
                <a:spcPct val="80000"/>
              </a:spcAft>
            </a:pPr>
            <a:r>
              <a:rPr lang="ru-RU" altLang="ru-RU" sz="2000" b="1">
                <a:solidFill>
                  <a:srgbClr val="660066"/>
                </a:solidFill>
              </a:rPr>
              <a:t>Большое количество клеток и медиаторов воспаления вовлечены в процесс ремоделирования дыхательных путей </a:t>
            </a:r>
            <a:endParaRPr lang="en-US" altLang="ru-RU" sz="2000" b="1">
              <a:solidFill>
                <a:srgbClr val="660066"/>
              </a:solidFill>
            </a:endParaRPr>
          </a:p>
          <a:p>
            <a:r>
              <a:rPr lang="ru-RU" altLang="ru-RU" sz="2000" b="1">
                <a:solidFill>
                  <a:srgbClr val="660066"/>
                </a:solidFill>
              </a:rPr>
              <a:t>Омализумаб</a:t>
            </a:r>
            <a:endParaRPr lang="en-US" altLang="ru-RU" sz="2000" b="1">
              <a:solidFill>
                <a:srgbClr val="660066"/>
              </a:solidFill>
            </a:endParaRPr>
          </a:p>
          <a:p>
            <a:pPr lvl="1"/>
            <a:r>
              <a:rPr lang="ru-RU" altLang="ru-RU" sz="2000" b="1">
                <a:solidFill>
                  <a:srgbClr val="660066"/>
                </a:solidFill>
              </a:rPr>
              <a:t>уменьшает количество </a:t>
            </a:r>
            <a:r>
              <a:rPr lang="en-GB" altLang="ru-RU" sz="2000" b="1">
                <a:solidFill>
                  <a:srgbClr val="660066"/>
                </a:solidFill>
              </a:rPr>
              <a:t>IgE+ </a:t>
            </a:r>
            <a:r>
              <a:rPr lang="ru-RU" altLang="ru-RU" sz="2000" b="1">
                <a:solidFill>
                  <a:srgbClr val="660066"/>
                </a:solidFill>
              </a:rPr>
              <a:t>и</a:t>
            </a:r>
            <a:r>
              <a:rPr lang="en-GB" altLang="ru-RU" sz="2000" b="1">
                <a:solidFill>
                  <a:srgbClr val="660066"/>
                </a:solidFill>
              </a:rPr>
              <a:t> Fc</a:t>
            </a:r>
            <a:r>
              <a:rPr lang="en-GB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RI+ </a:t>
            </a:r>
            <a:r>
              <a:rPr lang="ru-RU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клеток в подслизистом слое </a:t>
            </a:r>
            <a:endParaRPr lang="en-GB" altLang="ru-RU" sz="2000" b="1">
              <a:solidFill>
                <a:srgbClr val="660066"/>
              </a:solidFill>
              <a:sym typeface="Symbol" panose="05050102010706020507" pitchFamily="18" charset="2"/>
            </a:endParaRPr>
          </a:p>
          <a:p>
            <a:pPr lvl="1"/>
            <a:r>
              <a:rPr lang="ru-RU" altLang="ru-RU" sz="2000" b="1">
                <a:solidFill>
                  <a:srgbClr val="660066"/>
                </a:solidFill>
              </a:rPr>
              <a:t>снижает функциональную активность тканевых тучных клеток</a:t>
            </a:r>
            <a:r>
              <a:rPr lang="en-GB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 </a:t>
            </a:r>
            <a:r>
              <a:rPr lang="ru-RU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 и инфильтрацию гладкомышечной ткани бронхов</a:t>
            </a:r>
            <a:endParaRPr lang="en-GB" altLang="ru-RU" sz="2000" b="1">
              <a:solidFill>
                <a:srgbClr val="660066"/>
              </a:solidFill>
              <a:sym typeface="Symbol" panose="05050102010706020507" pitchFamily="18" charset="2"/>
            </a:endParaRPr>
          </a:p>
          <a:p>
            <a:pPr lvl="1"/>
            <a:r>
              <a:rPr lang="ru-RU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снижает</a:t>
            </a:r>
            <a:r>
              <a:rPr lang="en-GB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 </a:t>
            </a:r>
            <a:r>
              <a:rPr lang="ru-RU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количество эозинофилов в слизистой бронхов</a:t>
            </a:r>
            <a:r>
              <a:rPr lang="en-GB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 </a:t>
            </a:r>
            <a:r>
              <a:rPr lang="ru-RU" altLang="ru-RU" sz="2000" b="1">
                <a:solidFill>
                  <a:srgbClr val="660066"/>
                </a:solidFill>
                <a:sym typeface="Symbol" panose="05050102010706020507" pitchFamily="18" charset="2"/>
              </a:rPr>
              <a:t>и ускоряет апоптоз эозинофилов</a:t>
            </a:r>
            <a:endParaRPr lang="en-GB" altLang="ru-RU" sz="2000" b="1">
              <a:solidFill>
                <a:srgbClr val="660066"/>
              </a:solidFill>
              <a:sym typeface="Symbol" panose="05050102010706020507" pitchFamily="18" charset="2"/>
            </a:endParaRPr>
          </a:p>
          <a:p>
            <a:pPr lvl="1">
              <a:spcAft>
                <a:spcPct val="80000"/>
              </a:spcAft>
            </a:pPr>
            <a:r>
              <a:rPr lang="ru-RU" altLang="ru-RU" sz="2000" b="1">
                <a:solidFill>
                  <a:srgbClr val="660066"/>
                </a:solidFill>
              </a:rPr>
              <a:t>снижает количество</a:t>
            </a:r>
            <a:r>
              <a:rPr lang="en-US" altLang="ru-RU" sz="2000" b="1">
                <a:solidFill>
                  <a:srgbClr val="660066"/>
                </a:solidFill>
              </a:rPr>
              <a:t> IL-2+, IL-13+ </a:t>
            </a:r>
            <a:r>
              <a:rPr lang="ru-RU" altLang="ru-RU" sz="2000" b="1">
                <a:solidFill>
                  <a:srgbClr val="660066"/>
                </a:solidFill>
              </a:rPr>
              <a:t>и</a:t>
            </a:r>
            <a:r>
              <a:rPr lang="en-US" altLang="ru-RU" sz="2000" b="1">
                <a:solidFill>
                  <a:srgbClr val="660066"/>
                </a:solidFill>
              </a:rPr>
              <a:t> GM-CSF+ </a:t>
            </a:r>
            <a:r>
              <a:rPr lang="ru-RU" altLang="ru-RU" sz="2000" b="1">
                <a:solidFill>
                  <a:srgbClr val="660066"/>
                </a:solidFill>
              </a:rPr>
              <a:t>клеток</a:t>
            </a:r>
            <a:endParaRPr lang="en-US" altLang="ru-RU" sz="2000" b="1">
              <a:solidFill>
                <a:srgbClr val="660066"/>
              </a:solidFill>
            </a:endParaRPr>
          </a:p>
          <a:p>
            <a:pPr>
              <a:spcAft>
                <a:spcPct val="80000"/>
              </a:spcAft>
            </a:pPr>
            <a:r>
              <a:rPr lang="ru-RU" altLang="ru-RU" sz="2000" b="1">
                <a:solidFill>
                  <a:srgbClr val="660066"/>
                </a:solidFill>
              </a:rPr>
              <a:t>Омализумаб позволяет модифицировать симптомы астмы после длительного его применения</a:t>
            </a:r>
            <a:endParaRPr lang="en-GB" altLang="ru-RU" sz="2000" b="1">
              <a:solidFill>
                <a:srgbClr val="66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161678"/>
      </p:ext>
    </p:extLst>
  </p:cSld>
  <p:clrMapOvr>
    <a:masterClrMapping/>
  </p:clrMapOvr>
  <p:transition spd="slow">
    <p:fade/>
  </p:transition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258" name="Title 1"/>
          <p:cNvSpPr>
            <a:spLocks noGrp="1"/>
          </p:cNvSpPr>
          <p:nvPr>
            <p:ph type="title"/>
          </p:nvPr>
        </p:nvSpPr>
        <p:spPr>
          <a:xfrm>
            <a:off x="350838" y="184150"/>
            <a:ext cx="8164512" cy="804863"/>
          </a:xfrm>
        </p:spPr>
        <p:txBody>
          <a:bodyPr/>
          <a:lstStyle/>
          <a:p>
            <a:pPr eaLnBrk="1" hangingPunct="1"/>
            <a:r>
              <a:rPr lang="ru-RU" sz="2600" b="1" smtClean="0">
                <a:latin typeface="Arial" pitchFamily="34" charset="0"/>
                <a:cs typeface="Arial" pitchFamily="34" charset="0"/>
              </a:rPr>
              <a:t>Анти-</a:t>
            </a:r>
            <a:r>
              <a:rPr lang="en-US" sz="2600" b="1" smtClean="0">
                <a:latin typeface="Arial" pitchFamily="34" charset="0"/>
                <a:cs typeface="Arial" pitchFamily="34" charset="0"/>
              </a:rPr>
              <a:t>IgE </a:t>
            </a:r>
            <a:r>
              <a:rPr lang="ru-RU" sz="2600" b="1" smtClean="0">
                <a:latin typeface="Arial" pitchFamily="34" charset="0"/>
                <a:cs typeface="Arial" pitchFamily="34" charset="0"/>
              </a:rPr>
              <a:t>терапия у детей с БА </a:t>
            </a:r>
            <a:br>
              <a:rPr lang="ru-RU" sz="2600" b="1" smtClean="0">
                <a:latin typeface="Arial" pitchFamily="34" charset="0"/>
                <a:cs typeface="Arial" pitchFamily="34" charset="0"/>
              </a:rPr>
            </a:br>
            <a:r>
              <a:rPr lang="ru-RU" sz="2600" b="1" smtClean="0">
                <a:latin typeface="Arial" pitchFamily="34" charset="0"/>
                <a:cs typeface="Arial" pitchFamily="34" charset="0"/>
              </a:rPr>
              <a:t>в реальной клинической практике</a:t>
            </a:r>
          </a:p>
        </p:txBody>
      </p:sp>
      <p:graphicFrame>
        <p:nvGraphicFramePr>
          <p:cNvPr id="608259" name="Content Placeholder 5"/>
          <p:cNvGraphicFramePr>
            <a:graphicFrameLocks noGrp="1"/>
          </p:cNvGraphicFramePr>
          <p:nvPr>
            <p:ph idx="1"/>
          </p:nvPr>
        </p:nvGraphicFramePr>
        <p:xfrm>
          <a:off x="155575" y="990600"/>
          <a:ext cx="6253163" cy="45037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r:id="rId4" imgW="6255038" imgH="4499238" progId="Excel.Chart.8">
                  <p:embed/>
                </p:oleObj>
              </mc:Choice>
              <mc:Fallback>
                <p:oleObj r:id="rId4" imgW="6255038" imgH="4499238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575" y="990600"/>
                        <a:ext cx="6253163" cy="45037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60" name="TextBox 6"/>
          <p:cNvSpPr txBox="1">
            <a:spLocks noChangeArrowheads="1"/>
          </p:cNvSpPr>
          <p:nvPr/>
        </p:nvSpPr>
        <p:spPr bwMode="auto">
          <a:xfrm>
            <a:off x="1935163" y="5308600"/>
            <a:ext cx="18669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smtClean="0">
                <a:solidFill>
                  <a:srgbClr val="000000"/>
                </a:solidFill>
              </a:rPr>
              <a:t>До приема омализумаба</a:t>
            </a:r>
          </a:p>
        </p:txBody>
      </p:sp>
      <p:sp>
        <p:nvSpPr>
          <p:cNvPr id="608261" name="TextBox 7"/>
          <p:cNvSpPr txBox="1">
            <a:spLocks noChangeArrowheads="1"/>
          </p:cNvSpPr>
          <p:nvPr/>
        </p:nvSpPr>
        <p:spPr bwMode="auto">
          <a:xfrm>
            <a:off x="3802063" y="5299075"/>
            <a:ext cx="19923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200" b="1" smtClean="0">
                <a:solidFill>
                  <a:srgbClr val="000000"/>
                </a:solidFill>
              </a:rPr>
              <a:t>Через 52 недели на фоне приема омализумаба</a:t>
            </a:r>
          </a:p>
        </p:txBody>
      </p:sp>
      <p:sp>
        <p:nvSpPr>
          <p:cNvPr id="608262" name="TextBox 8"/>
          <p:cNvSpPr txBox="1">
            <a:spLocks noChangeArrowheads="1"/>
          </p:cNvSpPr>
          <p:nvPr/>
        </p:nvSpPr>
        <p:spPr bwMode="auto">
          <a:xfrm>
            <a:off x="6223000" y="1776413"/>
            <a:ext cx="2921000" cy="332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  <a:latin typeface="Arial" pitchFamily="34" charset="0"/>
              </a:rPr>
              <a:t>Исследование реальной клинической практики, 104 ребенка (возраст 6-18 лет) с тяжелой бронхиальной астмой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smtClean="0">
              <a:solidFill>
                <a:srgbClr val="000000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Результаты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u="sng" smtClean="0">
                <a:solidFill>
                  <a:srgbClr val="000000"/>
                </a:solidFill>
              </a:rPr>
              <a:t>На фоне терапии омализумабом отмечено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↓число обострений на 72%,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↓число госпитализаций на 88,5%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↓дозы ИГКС на 30%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Улучшение контроля симптомов астмы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smtClean="0">
                <a:solidFill>
                  <a:srgbClr val="000000"/>
                </a:solidFill>
              </a:rPr>
              <a:t>Улучшение показателей ФВД</a:t>
            </a:r>
          </a:p>
        </p:txBody>
      </p:sp>
      <p:sp>
        <p:nvSpPr>
          <p:cNvPr id="608263" name="TextBox 9"/>
          <p:cNvSpPr txBox="1">
            <a:spLocks noChangeArrowheads="1"/>
          </p:cNvSpPr>
          <p:nvPr/>
        </p:nvSpPr>
        <p:spPr bwMode="auto">
          <a:xfrm>
            <a:off x="206375" y="6475413"/>
            <a:ext cx="58578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1100" b="1" smtClean="0">
                <a:solidFill>
                  <a:srgbClr val="000000"/>
                </a:solidFill>
              </a:rPr>
              <a:t>Deschildre A et al.</a:t>
            </a:r>
            <a:r>
              <a:rPr lang="ru-RU" sz="1100" b="1" smtClean="0">
                <a:solidFill>
                  <a:srgbClr val="000000"/>
                </a:solidFill>
              </a:rPr>
              <a:t> </a:t>
            </a:r>
            <a:r>
              <a:rPr lang="fr-FR" sz="1100" b="1" smtClean="0">
                <a:solidFill>
                  <a:srgbClr val="000000"/>
                </a:solidFill>
              </a:rPr>
              <a:t>Eur Respir J 2013; 42: 1224–1233</a:t>
            </a:r>
            <a:endParaRPr lang="ru-RU" sz="1100" b="1" smtClean="0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0838" y="5816600"/>
            <a:ext cx="8537575" cy="3683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ru-RU" altLang="en-US" b="1" dirty="0">
                <a:solidFill>
                  <a:prstClr val="black"/>
                </a:solidFill>
                <a:ea typeface="Myriad Pro"/>
                <a:cs typeface="Myriad Pro"/>
              </a:rPr>
              <a:t>Омализумаб значимо снижает частоту обострений астмы</a:t>
            </a:r>
            <a:r>
              <a:rPr lang="ru-RU" altLang="en-US" b="1" baseline="30000" dirty="0">
                <a:solidFill>
                  <a:prstClr val="black"/>
                </a:solidFill>
                <a:ea typeface="Myriad Pro"/>
                <a:cs typeface="Myriad Pro"/>
              </a:rPr>
              <a:t> </a:t>
            </a:r>
            <a:r>
              <a:rPr lang="ru-RU" altLang="en-US" b="1" dirty="0">
                <a:solidFill>
                  <a:prstClr val="black"/>
                </a:solidFill>
                <a:ea typeface="Myriad Pro"/>
                <a:cs typeface="Myriad Pro"/>
              </a:rPr>
              <a:t> у детей (6 лет и старше)</a:t>
            </a:r>
            <a:r>
              <a:rPr lang="ru-RU" altLang="en-US" b="1" baseline="30000" dirty="0">
                <a:solidFill>
                  <a:prstClr val="black"/>
                </a:solidFill>
                <a:ea typeface="Myriad Pro"/>
                <a:cs typeface="Myriad Pro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4916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282" name="Title 1"/>
          <p:cNvSpPr>
            <a:spLocks noGrp="1"/>
          </p:cNvSpPr>
          <p:nvPr>
            <p:ph type="title"/>
          </p:nvPr>
        </p:nvSpPr>
        <p:spPr>
          <a:xfrm>
            <a:off x="0" y="238125"/>
            <a:ext cx="9069388" cy="619125"/>
          </a:xfrm>
        </p:spPr>
        <p:txBody>
          <a:bodyPr/>
          <a:lstStyle/>
          <a:p>
            <a:pPr eaLnBrk="1" hangingPunct="1"/>
            <a:r>
              <a:rPr lang="ru-RU" sz="2000" b="1" smtClean="0">
                <a:latin typeface="Arial" pitchFamily="34" charset="0"/>
                <a:cs typeface="Arial" pitchFamily="34" charset="0"/>
              </a:rPr>
              <a:t>Анти-</a:t>
            </a:r>
            <a:r>
              <a:rPr lang="en-US" sz="2000" b="1" smtClean="0">
                <a:latin typeface="Arial" pitchFamily="34" charset="0"/>
                <a:cs typeface="Arial" pitchFamily="34" charset="0"/>
              </a:rPr>
              <a:t>IgE </a:t>
            </a:r>
            <a:r>
              <a:rPr lang="ru-RU" sz="2000" b="1" smtClean="0">
                <a:latin typeface="Arial" pitchFamily="34" charset="0"/>
                <a:cs typeface="Arial" pitchFamily="34" charset="0"/>
              </a:rPr>
              <a:t>терапия снижает частоту эпизодов вирусной инфекции  у детей с БА*</a:t>
            </a:r>
          </a:p>
        </p:txBody>
      </p:sp>
      <p:pic>
        <p:nvPicPr>
          <p:cNvPr id="609283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914400"/>
            <a:ext cx="3146425" cy="438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685800" y="981075"/>
            <a:ext cx="2301875" cy="5032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>
                <a:solidFill>
                  <a:srgbClr val="000000"/>
                </a:solidFill>
                <a:latin typeface="Arial"/>
              </a:rPr>
              <a:t>Влияние терапии Омализмабом на среднее число ОРЗ</a:t>
            </a:r>
            <a:r>
              <a:rPr lang="ru-RU" sz="1050" b="1" baseline="30000" dirty="0">
                <a:solidFill>
                  <a:srgbClr val="000000"/>
                </a:solidFill>
                <a:latin typeface="Arial"/>
              </a:rPr>
              <a:t>1</a:t>
            </a:r>
          </a:p>
        </p:txBody>
      </p:sp>
      <p:sp>
        <p:nvSpPr>
          <p:cNvPr id="8" name="Rectangle 7"/>
          <p:cNvSpPr/>
          <p:nvPr/>
        </p:nvSpPr>
        <p:spPr>
          <a:xfrm>
            <a:off x="290513" y="1785938"/>
            <a:ext cx="187325" cy="26479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Down Arrow 8"/>
          <p:cNvSpPr/>
          <p:nvPr/>
        </p:nvSpPr>
        <p:spPr>
          <a:xfrm>
            <a:off x="2268538" y="2071688"/>
            <a:ext cx="358775" cy="709612"/>
          </a:xfrm>
          <a:prstGeom prst="down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5750" y="5473700"/>
            <a:ext cx="8613775" cy="5857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ln w="0"/>
                <a:solidFill>
                  <a:prstClr val="black"/>
                </a:solidFill>
                <a:latin typeface="Arial"/>
                <a:cs typeface="Arial" pitchFamily="34" charset="0"/>
              </a:rPr>
              <a:t>Омализумаб снижает чувствительность к </a:t>
            </a:r>
            <a:r>
              <a:rPr lang="en-US" sz="1600" b="1" dirty="0">
                <a:ln w="0"/>
                <a:solidFill>
                  <a:prstClr val="black"/>
                </a:solidFill>
                <a:latin typeface="Arial"/>
                <a:cs typeface="Arial" pitchFamily="34" charset="0"/>
              </a:rPr>
              <a:t>RV </a:t>
            </a:r>
            <a:r>
              <a:rPr lang="ru-RU" sz="1600" b="1" dirty="0">
                <a:ln w="0"/>
                <a:solidFill>
                  <a:prstClr val="black"/>
                </a:solidFill>
                <a:latin typeface="Arial"/>
                <a:cs typeface="Arial" pitchFamily="34" charset="0"/>
              </a:rPr>
              <a:t>инфекции и </a:t>
            </a:r>
          </a:p>
          <a:p>
            <a:pPr>
              <a:defRPr/>
            </a:pPr>
            <a:r>
              <a:rPr lang="ru-RU" sz="1600" b="1" dirty="0">
                <a:ln w="0"/>
                <a:solidFill>
                  <a:prstClr val="black"/>
                </a:solidFill>
                <a:latin typeface="Arial"/>
                <a:cs typeface="Arial" pitchFamily="34" charset="0"/>
              </a:rPr>
              <a:t>частоту ее развития в группе детей с БА</a:t>
            </a:r>
          </a:p>
        </p:txBody>
      </p:sp>
      <p:sp>
        <p:nvSpPr>
          <p:cNvPr id="609288" name="TextBox 11"/>
          <p:cNvSpPr txBox="1">
            <a:spLocks noChangeArrowheads="1"/>
          </p:cNvSpPr>
          <p:nvPr/>
        </p:nvSpPr>
        <p:spPr bwMode="auto">
          <a:xfrm>
            <a:off x="82550" y="6416675"/>
            <a:ext cx="90281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286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en-US" sz="1000" b="1" smtClean="0">
                <a:solidFill>
                  <a:srgbClr val="000000"/>
                </a:solidFill>
              </a:rPr>
              <a:t>Esquivel A. et al. Effects of Omalizumab on Rhinovirus Infections, Illnesses and Exacerbations of Asthma. Am J Respir Crit Care Med. 2017 Jun 13.</a:t>
            </a:r>
            <a:endParaRPr lang="ru-RU" sz="1000" b="1" smtClean="0">
              <a:solidFill>
                <a:srgbClr val="000000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000" b="1" smtClean="0">
                <a:solidFill>
                  <a:srgbClr val="000000"/>
                </a:solidFill>
              </a:rPr>
              <a:t>Инструкция по применению лекарственного препарата для медицинского применения Ксолар (ЛСР-000082 от 29.05.2007)</a:t>
            </a:r>
            <a:r>
              <a:rPr lang="en-US" sz="1000" b="1" smtClean="0">
                <a:solidFill>
                  <a:srgbClr val="000000"/>
                </a:solidFill>
              </a:rPr>
              <a:t> </a:t>
            </a:r>
            <a:endParaRPr lang="ru-RU" sz="1000" b="1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84263" y="4764088"/>
            <a:ext cx="1903412" cy="1920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>
                <a:solidFill>
                  <a:prstClr val="black"/>
                </a:solidFill>
              </a:rPr>
              <a:t>Плацебо        Омализумаб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87675" y="836613"/>
            <a:ext cx="6042025" cy="5078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Цель: определить взаимосвязь терапии омализумабом и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нижением частоты и длительности риновирусной (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V-</a:t>
            </a: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) инфекции у детей с БА</a:t>
            </a: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атериалы и методы: 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89 </a:t>
            </a: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етей с БА на базисной терапии, 259 пациентов в группе базисная терапия+ омализумаб. Еженедельно 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V</a:t>
            </a: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анализ</a:t>
            </a:r>
            <a:r>
              <a:rPr 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зальной слизи. Период проведения: осень (90 дней) 2012, 2013 гг.</a:t>
            </a:r>
          </a:p>
          <a:p>
            <a:pPr>
              <a:defRPr/>
            </a:pPr>
            <a:endParaRPr lang="en-US" sz="1400" dirty="0">
              <a:solidFill>
                <a:prstClr val="black"/>
              </a:solidFill>
              <a:cs typeface="Arial" pitchFamily="34" charset="0"/>
            </a:endParaRPr>
          </a:p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зультаты:</a:t>
            </a:r>
          </a:p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. Риновирусы значимо чаще выявлялись в образцах пациентов с обострениями в сравнении с образцами  пациентов вне обострений (57%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s 36%, , p&lt;0.001).</a:t>
            </a:r>
          </a:p>
          <a:p>
            <a:pPr>
              <a:defRPr/>
            </a:pP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.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 фоне терапии омализумабом снижалась продолжительность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V-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нфекции у пациентов с БА (11.2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s 2.4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ня, р=0.03)</a:t>
            </a:r>
            <a:endParaRPr lang="en-US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.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 фоне терапии омализумабом снижалась частота эпизодов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V-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нфекции (относительный риск 0.64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95% 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И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0.49-0.84).</a:t>
            </a:r>
            <a:endParaRPr lang="ru-RU" sz="14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ключение: у детей с аллергической астмой терапия омализумабом снижает риск и продолжительность </a:t>
            </a:r>
            <a:r>
              <a:rPr lang="en-US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V-</a:t>
            </a:r>
            <a:r>
              <a:rPr lang="ru-RU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нфекции. </a:t>
            </a:r>
            <a:endParaRPr lang="en-US" sz="1400" b="1" cap="all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ru-RU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09291" name="TextBox 14"/>
          <p:cNvSpPr txBox="1">
            <a:spLocks noChangeArrowheads="1"/>
          </p:cNvSpPr>
          <p:nvPr/>
        </p:nvSpPr>
        <p:spPr bwMode="auto">
          <a:xfrm>
            <a:off x="114300" y="6059488"/>
            <a:ext cx="899636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1" smtClean="0">
                <a:solidFill>
                  <a:srgbClr val="000000"/>
                </a:solidFill>
              </a:rPr>
              <a:t>*Согласно инструкции по применению, омализумаб показан для лечения персистирующей атопической бронхиальной астмы среднетяжелого и тяжелого течения, симптомы которой недостаточно контролируются применением ингаляционных глюкокортикостероидов</a:t>
            </a:r>
          </a:p>
        </p:txBody>
      </p:sp>
    </p:spTree>
    <p:extLst>
      <p:ext uri="{BB962C8B-B14F-4D97-AF65-F5344CB8AC3E}">
        <p14:creationId xmlns:p14="http://schemas.microsoft.com/office/powerpoint/2010/main" val="2776602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6" name="Title 1"/>
          <p:cNvSpPr>
            <a:spLocks noGrp="1"/>
          </p:cNvSpPr>
          <p:nvPr>
            <p:ph type="title"/>
          </p:nvPr>
        </p:nvSpPr>
        <p:spPr>
          <a:xfrm>
            <a:off x="387350" y="28575"/>
            <a:ext cx="8756650" cy="1119188"/>
          </a:xfrm>
        </p:spPr>
        <p:txBody>
          <a:bodyPr/>
          <a:lstStyle/>
          <a:p>
            <a:pPr eaLnBrk="1" hangingPunct="1"/>
            <a:r>
              <a:rPr lang="ru-RU" sz="2800" b="1" smtClean="0">
                <a:latin typeface="Arial" pitchFamily="34" charset="0"/>
                <a:cs typeface="Arial" pitchFamily="34" charset="0"/>
              </a:rPr>
              <a:t>Анти-</a:t>
            </a:r>
            <a:r>
              <a:rPr lang="en-US" sz="2800" b="1" smtClean="0">
                <a:latin typeface="Arial" pitchFamily="34" charset="0"/>
                <a:cs typeface="Arial" pitchFamily="34" charset="0"/>
              </a:rPr>
              <a:t>IgE</a:t>
            </a:r>
            <a:r>
              <a:rPr lang="ru-RU" sz="2800" b="1" smtClean="0">
                <a:latin typeface="Arial" pitchFamily="34" charset="0"/>
                <a:cs typeface="Arial" pitchFamily="34" charset="0"/>
              </a:rPr>
              <a:t> терапия бронхиальной астмы: омализумаб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" y="1125538"/>
            <a:ext cx="8229600" cy="5327650"/>
          </a:xfrm>
        </p:spPr>
        <p:txBody>
          <a:bodyPr rtlCol="0">
            <a:normAutofit fontScale="85000" lnSpcReduction="20000"/>
          </a:bodyPr>
          <a:lstStyle/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b="1" dirty="0" smtClean="0">
                <a:solidFill>
                  <a:srgbClr val="C00000"/>
                </a:solidFill>
              </a:rPr>
              <a:t>Показание: 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b="1" dirty="0" smtClean="0"/>
              <a:t>Лечение персистирующей атопической бронхиальной астмы среднетяжелого и тяжелого течения, симптомы которой недостаточно контролируются применением ингаляционных глюкокортикостероидов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ru-RU" sz="2800" b="1" dirty="0"/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/>
              <a:t>Пациентам 6 лет и старше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/>
              <a:t>Исходные значения </a:t>
            </a:r>
            <a:r>
              <a:rPr lang="en-US" sz="2800" b="1" dirty="0" err="1" smtClean="0"/>
              <a:t>IgE</a:t>
            </a:r>
            <a:r>
              <a:rPr lang="en-US" sz="2800" b="1" dirty="0" smtClean="0"/>
              <a:t> 30 – 1500 </a:t>
            </a:r>
            <a:r>
              <a:rPr lang="ru-RU" sz="2800" b="1" dirty="0" smtClean="0"/>
              <a:t>МЕ/мл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/>
              <a:t>Масса тела пациента от 20 до 200 кг.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/>
              <a:t>Подкожная инъекция 1 раз в 2 или 4 недели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b="1" dirty="0" smtClean="0">
                <a:solidFill>
                  <a:srgbClr val="C00000"/>
                </a:solidFill>
              </a:rPr>
              <a:t>Важно!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b="1" dirty="0" smtClean="0"/>
              <a:t>Оценку эффективности терапии омализумабом следует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800" b="1" dirty="0"/>
              <a:t>п</a:t>
            </a:r>
            <a:r>
              <a:rPr lang="ru-RU" sz="2800" b="1" dirty="0" smtClean="0"/>
              <a:t>роводить по прошествии минимум 12 недель лечения препаратом</a:t>
            </a:r>
            <a:endParaRPr lang="ru-RU" b="1" dirty="0"/>
          </a:p>
        </p:txBody>
      </p:sp>
      <p:sp>
        <p:nvSpPr>
          <p:cNvPr id="610308" name="TextBox 3"/>
          <p:cNvSpPr txBox="1">
            <a:spLocks noChangeArrowheads="1"/>
          </p:cNvSpPr>
          <p:nvPr/>
        </p:nvSpPr>
        <p:spPr bwMode="auto">
          <a:xfrm>
            <a:off x="200025" y="6424613"/>
            <a:ext cx="8923338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1" smtClean="0">
                <a:solidFill>
                  <a:srgbClr val="000000"/>
                </a:solidFill>
              </a:rPr>
              <a:t>Инструкция по применению лекарственного препарата для медицинского применения Ксолар (ЛСР-000082 от 29.05.2007</a:t>
            </a:r>
            <a:r>
              <a:rPr lang="ru-RU" sz="1000" smtClean="0">
                <a:solidFill>
                  <a:srgbClr val="000000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3432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Название 4"/>
          <p:cNvSpPr>
            <a:spLocks noGrp="1" noChangeArrowheads="1"/>
          </p:cNvSpPr>
          <p:nvPr>
            <p:ph type="title"/>
          </p:nvPr>
        </p:nvSpPr>
        <p:spPr>
          <a:xfrm>
            <a:off x="457200" y="128588"/>
            <a:ext cx="8229600" cy="995362"/>
          </a:xfrm>
        </p:spPr>
        <p:txBody>
          <a:bodyPr/>
          <a:lstStyle/>
          <a:p>
            <a:pPr eaLnBrk="1" hangingPunct="1"/>
            <a:r>
              <a:rPr lang="ru-RU" sz="2800" b="1" smtClean="0">
                <a:solidFill>
                  <a:srgbClr val="7F6000"/>
                </a:solidFill>
                <a:latin typeface="Times New Roman" pitchFamily="18" charset="0"/>
              </a:rPr>
              <a:t>Эволюция таргетной биологической терапии для лечения БА</a:t>
            </a:r>
            <a:endParaRPr lang="ru-RU" sz="2800" b="1" smtClean="0">
              <a:solidFill>
                <a:srgbClr val="7F6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102187" y="1124141"/>
          <a:ext cx="8867454" cy="55477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7043" name="TextBox 3"/>
          <p:cNvSpPr txBox="1">
            <a:spLocks noChangeArrowheads="1"/>
          </p:cNvSpPr>
          <p:nvPr/>
        </p:nvSpPr>
        <p:spPr bwMode="auto">
          <a:xfrm>
            <a:off x="700088" y="1206500"/>
            <a:ext cx="3057525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i="1" smtClean="0">
                <a:solidFill>
                  <a:prstClr val="black"/>
                </a:solidFill>
                <a:latin typeface="Arial" pitchFamily="34" charset="0"/>
              </a:rPr>
              <a:t>четыре основных  терапевтических пути</a:t>
            </a:r>
            <a:r>
              <a:rPr lang="ru-RU" i="1" smtClean="0">
                <a:solidFill>
                  <a:prstClr val="black"/>
                </a:solidFill>
                <a:latin typeface="Arial" pitchFamily="34" charset="0"/>
              </a:rPr>
              <a:t>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smtClean="0">
                <a:solidFill>
                  <a:prstClr val="black"/>
                </a:solidFill>
                <a:latin typeface="Arial" pitchFamily="34" charset="0"/>
              </a:rPr>
              <a:t>IgE (омализумаб)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smtClean="0">
                <a:solidFill>
                  <a:prstClr val="black"/>
                </a:solidFill>
                <a:latin typeface="Arial" pitchFamily="34" charset="0"/>
              </a:rPr>
              <a:t>IL-5 (меполизумаб, реслизумаб, бенрализумаб)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smtClean="0">
                <a:solidFill>
                  <a:prstClr val="black"/>
                </a:solidFill>
                <a:latin typeface="Arial" pitchFamily="34" charset="0"/>
              </a:rPr>
              <a:t>IL-4/IL-13 (дупилумаб, тралокинумаб, лебрикизумаб)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i="1" smtClean="0">
                <a:solidFill>
                  <a:prstClr val="black"/>
                </a:solidFill>
                <a:latin typeface="Arial" pitchFamily="34" charset="0"/>
              </a:rPr>
              <a:t>CRTH2 (февипипрант и тимапипрант</a:t>
            </a:r>
            <a:endParaRPr lang="ru-RU" smtClean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49189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i="1">
                <a:solidFill>
                  <a:srgbClr val="333399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Показания для госпитализации детей больных бронхиальной астмой</a:t>
            </a:r>
          </a:p>
        </p:txBody>
      </p:sp>
      <p:sp>
        <p:nvSpPr>
          <p:cNvPr id="161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844675"/>
            <a:ext cx="7772400" cy="3886200"/>
          </a:xfrm>
        </p:spPr>
        <p:txBody>
          <a:bodyPr/>
          <a:lstStyle/>
          <a:p>
            <a:pPr>
              <a:buFontTx/>
              <a:buNone/>
            </a:pPr>
            <a:r>
              <a:rPr lang="ru-RU" sz="2400" b="1" i="1">
                <a:solidFill>
                  <a:srgbClr val="333399"/>
                </a:solidFill>
              </a:rPr>
              <a:t>При обострении бронхиальной астмы у детей направление на стационарное лечение показано при следующих ситуациях:</a:t>
            </a:r>
          </a:p>
          <a:p>
            <a:pPr>
              <a:buFont typeface="Wingdings" pitchFamily="2" charset="2"/>
              <a:buChar char="Ø"/>
            </a:pPr>
            <a:r>
              <a:rPr lang="ru-RU" sz="2400" b="1"/>
              <a:t>Невозможность или неэффективность (в течение 1-3 часов) лечение в домашних условиях</a:t>
            </a:r>
          </a:p>
          <a:p>
            <a:pPr>
              <a:buFont typeface="Wingdings" pitchFamily="2" charset="2"/>
              <a:buChar char="Ø"/>
            </a:pPr>
            <a:r>
              <a:rPr lang="ru-RU" sz="2400" b="1"/>
              <a:t>Выраженная тяжесть состояния больного</a:t>
            </a:r>
          </a:p>
          <a:p>
            <a:pPr>
              <a:buFont typeface="Wingdings" pitchFamily="2" charset="2"/>
              <a:buChar char="Ø"/>
            </a:pPr>
            <a:r>
              <a:rPr lang="ru-RU" sz="2400" b="1"/>
              <a:t>Детям из группы высокого риска развития осложнений и при необходимости установления природы обострений и подбора средств терапии при впервые возникших приступах удушья</a:t>
            </a:r>
          </a:p>
        </p:txBody>
      </p:sp>
    </p:spTree>
    <p:extLst>
      <p:ext uri="{BB962C8B-B14F-4D97-AF65-F5344CB8AC3E}">
        <p14:creationId xmlns:p14="http://schemas.microsoft.com/office/powerpoint/2010/main" val="432887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34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333375"/>
            <a:ext cx="7772400" cy="515938"/>
          </a:xfrm>
        </p:spPr>
        <p:txBody>
          <a:bodyPr/>
          <a:lstStyle/>
          <a:p>
            <a:r>
              <a:rPr lang="ru-RU" sz="4000" b="1" i="1">
                <a:solidFill>
                  <a:srgbClr val="000066"/>
                </a:solidFill>
              </a:rPr>
              <a:t>Выписка из стационара</a:t>
            </a:r>
          </a:p>
        </p:txBody>
      </p:sp>
      <p:sp>
        <p:nvSpPr>
          <p:cNvPr id="172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981075"/>
            <a:ext cx="8667750" cy="5572125"/>
          </a:xfrm>
        </p:spPr>
        <p:txBody>
          <a:bodyPr/>
          <a:lstStyle/>
          <a:p>
            <a:pPr marL="446088" indent="0" defTabSz="947738">
              <a:lnSpc>
                <a:spcPct val="90000"/>
              </a:lnSpc>
              <a:buFontTx/>
              <a:buNone/>
              <a:tabLst>
                <a:tab pos="1524000" algn="l"/>
              </a:tabLst>
            </a:pPr>
            <a:r>
              <a:rPr lang="ru-RU" sz="2800"/>
              <a:t>    </a:t>
            </a:r>
            <a:r>
              <a:rPr lang="ru-RU" sz="2800" b="1"/>
              <a:t>Пациент может быть выписан, если дозы, принимаемых внутрь и ингаляционных препаратов обеспечивают стабильное состояние, а показатели ПСВ превышают 70-80% от прогнозируемых или наилучших для данного больного значения.</a:t>
            </a:r>
          </a:p>
          <a:p>
            <a:pPr marL="446088" indent="0" defTabSz="947738">
              <a:lnSpc>
                <a:spcPct val="90000"/>
              </a:lnSpc>
              <a:buFontTx/>
              <a:buNone/>
              <a:tabLst>
                <a:tab pos="1524000" algn="l"/>
              </a:tabLst>
            </a:pPr>
            <a:r>
              <a:rPr lang="ru-RU" sz="2800" b="1"/>
              <a:t>   </a:t>
            </a:r>
          </a:p>
          <a:p>
            <a:pPr marL="446088" indent="0" defTabSz="947738">
              <a:lnSpc>
                <a:spcPct val="90000"/>
              </a:lnSpc>
              <a:buFontTx/>
              <a:buNone/>
              <a:tabLst>
                <a:tab pos="1524000" algn="l"/>
              </a:tabLst>
            </a:pPr>
            <a:r>
              <a:rPr lang="ru-RU" sz="2800" b="1"/>
              <a:t> Рекомендации при выписке: </a:t>
            </a:r>
          </a:p>
          <a:p>
            <a:pPr marL="446088" indent="0" defTabSz="947738">
              <a:lnSpc>
                <a:spcPct val="90000"/>
              </a:lnSpc>
              <a:buFont typeface="Wingdings" pitchFamily="2" charset="2"/>
              <a:buChar char="ü"/>
              <a:tabLst>
                <a:tab pos="1524000" algn="l"/>
              </a:tabLst>
            </a:pPr>
            <a:r>
              <a:rPr lang="ru-RU" sz="2800" b="1"/>
              <a:t>избегать контакта с причинным фактором</a:t>
            </a:r>
          </a:p>
          <a:p>
            <a:pPr marL="446088" indent="0" defTabSz="947738">
              <a:lnSpc>
                <a:spcPct val="90000"/>
              </a:lnSpc>
              <a:buFont typeface="Wingdings" pitchFamily="2" charset="2"/>
              <a:buChar char="ü"/>
              <a:tabLst>
                <a:tab pos="1524000" algn="l"/>
              </a:tabLst>
            </a:pPr>
            <a:r>
              <a:rPr lang="ru-RU" sz="2800" b="1"/>
              <a:t>продолжить медикаментозное лечение</a:t>
            </a:r>
          </a:p>
          <a:p>
            <a:pPr marL="446088" indent="0" defTabSz="947738">
              <a:lnSpc>
                <a:spcPct val="90000"/>
              </a:lnSpc>
              <a:buFont typeface="Wingdings" pitchFamily="2" charset="2"/>
              <a:buChar char="ü"/>
              <a:tabLst>
                <a:tab pos="1524000" algn="l"/>
              </a:tabLst>
            </a:pPr>
            <a:r>
              <a:rPr lang="ru-RU" sz="2800" b="1"/>
              <a:t>обратиться к лечащему врачу в течение 24ч. после выписки</a:t>
            </a:r>
          </a:p>
        </p:txBody>
      </p:sp>
    </p:spTree>
    <p:extLst>
      <p:ext uri="{BB962C8B-B14F-4D97-AF65-F5344CB8AC3E}">
        <p14:creationId xmlns:p14="http://schemas.microsoft.com/office/powerpoint/2010/main" val="112125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521614" y="122499"/>
            <a:ext cx="8229600" cy="114300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200" b="1" dirty="0" smtClean="0"/>
              <a:t>Вирусные инфекции – как триггер обострения астмы</a:t>
            </a:r>
          </a:p>
        </p:txBody>
      </p:sp>
      <p:sp>
        <p:nvSpPr>
          <p:cNvPr id="340995" name="Slide Number Placeholder 3"/>
          <p:cNvSpPr>
            <a:spLocks noGrp="1"/>
          </p:cNvSpPr>
          <p:nvPr>
            <p:ph type="sldNum" sz="quarter" idx="12"/>
          </p:nvPr>
        </p:nvSpPr>
        <p:spPr bwMode="auto">
          <a:xfrm>
            <a:off x="457200" y="6245225"/>
            <a:ext cx="2133600" cy="47625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/>
            <a:fld id="{015CDDE1-F793-46D3-966E-4DE5AA4D8970}" type="slidenum">
              <a:rPr lang="en-US" smtClean="0">
                <a:solidFill>
                  <a:srgbClr val="1F497D"/>
                </a:solidFill>
              </a:rPr>
              <a:pPr algn="l" eaLnBrk="1" hangingPunct="1"/>
              <a:t>7</a:t>
            </a:fld>
            <a:endParaRPr lang="en-US" smtClean="0">
              <a:solidFill>
                <a:srgbClr val="1F497D"/>
              </a:solidFill>
            </a:endParaRPr>
          </a:p>
        </p:txBody>
      </p:sp>
      <p:sp>
        <p:nvSpPr>
          <p:cNvPr id="340996" name="Rectangle 3"/>
          <p:cNvSpPr txBox="1">
            <a:spLocks noChangeArrowheads="1"/>
          </p:cNvSpPr>
          <p:nvPr/>
        </p:nvSpPr>
        <p:spPr bwMode="auto">
          <a:xfrm>
            <a:off x="269878" y="1371619"/>
            <a:ext cx="8486775" cy="294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90575" indent="-342900" eaLnBrk="0" hangingPunct="0"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14300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80% обострений БА у детей и 50-75% у взрослых провоцируются вирусными инфекциями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1</a:t>
            </a: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err="1" smtClean="0">
                <a:solidFill>
                  <a:srgbClr val="000000"/>
                </a:solidFill>
                <a:latin typeface="Trebuchet MS" pitchFamily="34" charset="0"/>
              </a:rPr>
              <a:t>Риновирусы</a:t>
            </a: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 – единственный тип вирусов, значимо ассоциированный с риском обострения БА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1</a:t>
            </a:r>
            <a:endParaRPr lang="ru-RU" b="1" dirty="0" smtClean="0">
              <a:solidFill>
                <a:srgbClr val="000000"/>
              </a:solidFill>
              <a:latin typeface="Trebuchet MS" pitchFamily="34" charset="0"/>
            </a:endParaRP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Риновирусная инфекция обусловливает </a:t>
            </a:r>
            <a:r>
              <a:rPr lang="en-US" b="1" dirty="0" smtClean="0">
                <a:solidFill>
                  <a:srgbClr val="000000"/>
                </a:solidFill>
                <a:latin typeface="Trebuchet MS" pitchFamily="34" charset="0"/>
              </a:rPr>
              <a:t>“</a:t>
            </a: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сентябрьский сезон</a:t>
            </a:r>
            <a:r>
              <a:rPr lang="en-US" b="1" dirty="0" smtClean="0">
                <a:solidFill>
                  <a:srgbClr val="000000"/>
                </a:solidFill>
                <a:latin typeface="Trebuchet MS" pitchFamily="34" charset="0"/>
              </a:rPr>
              <a:t>”</a:t>
            </a: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 обострения астмы у школьников и обострение в декабре-январе у взрослых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1</a:t>
            </a:r>
            <a:endParaRPr lang="ru-RU" b="1" dirty="0" smtClean="0">
              <a:solidFill>
                <a:srgbClr val="000000"/>
              </a:solidFill>
              <a:latin typeface="Trebuchet MS" pitchFamily="34" charset="0"/>
            </a:endParaRP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Вирус гриппа также может быть причиной обострения в период зима-начало весны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1</a:t>
            </a:r>
            <a:endParaRPr lang="ru-RU" b="1" dirty="0" smtClean="0">
              <a:solidFill>
                <a:srgbClr val="000000"/>
              </a:solidFill>
              <a:latin typeface="Trebuchet MS" pitchFamily="34" charset="0"/>
            </a:endParaRP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Сопутствующая </a:t>
            </a:r>
            <a:r>
              <a:rPr lang="ru-RU" b="1" dirty="0" err="1" smtClean="0">
                <a:solidFill>
                  <a:srgbClr val="000000"/>
                </a:solidFill>
                <a:latin typeface="Trebuchet MS" pitchFamily="34" charset="0"/>
              </a:rPr>
              <a:t>атопия</a:t>
            </a: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 увеличивает риск обострения на фоне вирусной инфекции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1</a:t>
            </a:r>
            <a:endParaRPr lang="ru-RU" b="1" dirty="0" smtClean="0">
              <a:solidFill>
                <a:srgbClr val="000000"/>
              </a:solidFill>
              <a:latin typeface="Trebuchet MS" pitchFamily="34" charset="0"/>
            </a:endParaRP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У детей младенческого и младшего возраста с эпизодами бронхиальной обструкции на фоне вирусных инфекций отмечено повышение уровня ЛТ, вплоть до 5-кратного</a:t>
            </a:r>
            <a:r>
              <a:rPr lang="en-US" b="1" baseline="30000" dirty="0" smtClean="0">
                <a:solidFill>
                  <a:srgbClr val="000000"/>
                </a:solidFill>
                <a:latin typeface="Trebuchet MS" pitchFamily="34" charset="0"/>
              </a:rPr>
              <a:t>2</a:t>
            </a:r>
            <a:r>
              <a:rPr lang="ru-RU" b="1" baseline="30000" dirty="0" smtClean="0">
                <a:solidFill>
                  <a:srgbClr val="000000"/>
                </a:solidFill>
                <a:latin typeface="Trebuchet MS" pitchFamily="34" charset="0"/>
              </a:rPr>
              <a:t>,</a:t>
            </a:r>
            <a:r>
              <a:rPr lang="en-US" b="1" baseline="30000" dirty="0" smtClean="0">
                <a:solidFill>
                  <a:srgbClr val="000000"/>
                </a:solidFill>
                <a:latin typeface="Trebuchet MS" pitchFamily="34" charset="0"/>
              </a:rPr>
              <a:t>3</a:t>
            </a:r>
            <a:r>
              <a:rPr lang="ru-RU" b="1" dirty="0" smtClean="0">
                <a:solidFill>
                  <a:srgbClr val="000000"/>
                </a:solidFill>
                <a:latin typeface="Trebuchet MS" pitchFamily="34" charset="0"/>
              </a:rPr>
              <a:t> </a:t>
            </a:r>
          </a:p>
          <a:p>
            <a:pPr lvl="1" eaLnBrk="1" fontAlgn="base" hangingPunct="1">
              <a:lnSpc>
                <a:spcPct val="95000"/>
              </a:lnSpc>
              <a:spcBef>
                <a:spcPct val="10000"/>
              </a:spcBef>
              <a:spcAft>
                <a:spcPct val="25000"/>
              </a:spcAft>
              <a:buClr>
                <a:srgbClr val="8A2E4E"/>
              </a:buClr>
              <a:buSzPct val="90000"/>
              <a:buFont typeface="Wingdings" pitchFamily="2" charset="2"/>
              <a:buChar char="ü"/>
            </a:pPr>
            <a:endParaRPr lang="ru-RU" dirty="0" smtClean="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340997" name="Rectangle 2"/>
          <p:cNvSpPr>
            <a:spLocks noChangeArrowheads="1"/>
          </p:cNvSpPr>
          <p:nvPr/>
        </p:nvSpPr>
        <p:spPr bwMode="auto">
          <a:xfrm>
            <a:off x="976313" y="6105556"/>
            <a:ext cx="5029200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ackson D.J. et al. </a:t>
            </a:r>
            <a:r>
              <a:rPr lang="en-US" sz="11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 Allergy Clin Immunol </a:t>
            </a:r>
            <a:r>
              <a:rPr lang="ru-RU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1;128:1165-74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ru-RU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an Schaik et al. </a:t>
            </a:r>
            <a:r>
              <a:rPr lang="en-US" sz="11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 Allergy Clin Immunol </a:t>
            </a: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999;103:630-6.</a:t>
            </a:r>
            <a:endParaRPr lang="ru-RU" sz="11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olovitz B. et al. </a:t>
            </a:r>
            <a:r>
              <a:rPr lang="pt-BR" sz="11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ediatr Res </a:t>
            </a:r>
            <a:r>
              <a:rPr lang="pt-BR" sz="11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4: 504-507, 1988</a:t>
            </a:r>
            <a:endParaRPr lang="ru-RU" sz="11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4099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1295404"/>
            <a:ext cx="1076325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0999" name="Picture 2" descr="https://encrypted-tbn2.gstatic.com/images?q=tbn:ANd9GcRgU-GVKOKTCZuBaMFrNcuCrwaEOht10h_Fb8Wt5QHLjlX8yg3eW_Tl3DI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14681"/>
            <a:ext cx="1066800" cy="110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1000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3810001"/>
            <a:ext cx="1103313" cy="111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1001" name="Picture 4" descr="https://encrypted-tbn3.gstatic.com/images?q=tbn:ANd9GcS0MkwoRc7ogpwfHRnJKe7akNtrBi1Ji599FasUrrvfCv0WygNrvPEbqME">
            <a:hlinkClick r:id="rId7"/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029281"/>
            <a:ext cx="1138238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224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 txBox="1">
            <a:spLocks noChangeArrowheads="1"/>
          </p:cNvSpPr>
          <p:nvPr/>
        </p:nvSpPr>
        <p:spPr bwMode="auto">
          <a:xfrm>
            <a:off x="1187457" y="260350"/>
            <a:ext cx="77771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z="2400" b="1">
              <a:solidFill>
                <a:prstClr val="white"/>
              </a:solidFill>
              <a:latin typeface="Corbel" panose="020B0503020204020204" pitchFamily="34" charset="0"/>
            </a:endParaRPr>
          </a:p>
        </p:txBody>
      </p:sp>
      <p:sp>
        <p:nvSpPr>
          <p:cNvPr id="105475" name="Rectangle 4"/>
          <p:cNvSpPr txBox="1">
            <a:spLocks noChangeArrowheads="1"/>
          </p:cNvSpPr>
          <p:nvPr/>
        </p:nvSpPr>
        <p:spPr bwMode="auto">
          <a:xfrm>
            <a:off x="15734" y="1340792"/>
            <a:ext cx="4932040" cy="4824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Раннее выявление БА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Наблюдение детей с риском развития БА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Углубленное обследование  детей с «маскирующими диагнозами» (ЧБД)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Контроль за детьми с БА в соответствии с индивидуальным планом; 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Исследование ФВД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Амбулаторное лечение по показаниям или по рекомендации специалистов.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Оценка эффективности начальной терапии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Мониторинг эффективности базисной терапии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Санация очагов </a:t>
            </a:r>
            <a:r>
              <a:rPr lang="ru-RU" altLang="ru-RU" b="1" dirty="0" err="1">
                <a:solidFill>
                  <a:prstClr val="black"/>
                </a:solidFill>
              </a:rPr>
              <a:t>хр.инфекции</a:t>
            </a:r>
            <a:r>
              <a:rPr lang="ru-RU" altLang="ru-RU" b="1" dirty="0">
                <a:solidFill>
                  <a:prstClr val="black"/>
                </a:solidFill>
              </a:rPr>
              <a:t>; Лечение </a:t>
            </a:r>
            <a:r>
              <a:rPr lang="ru-RU" altLang="ru-RU" b="1" dirty="0" err="1">
                <a:solidFill>
                  <a:prstClr val="black"/>
                </a:solidFill>
              </a:rPr>
              <a:t>коморбидных</a:t>
            </a:r>
            <a:r>
              <a:rPr lang="ru-RU" altLang="ru-RU" b="1" dirty="0">
                <a:solidFill>
                  <a:prstClr val="black"/>
                </a:solidFill>
              </a:rPr>
              <a:t> состояний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Этапное лечение в санаториях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Восстановительное комплексное лечение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Беседы, советы по профориентации</a:t>
            </a:r>
            <a:r>
              <a:rPr lang="ru-RU" altLang="ru-RU" sz="1600" b="1" dirty="0">
                <a:solidFill>
                  <a:prstClr val="black"/>
                </a:solidFill>
              </a:rPr>
              <a:t>.</a:t>
            </a:r>
          </a:p>
        </p:txBody>
      </p:sp>
      <p:sp>
        <p:nvSpPr>
          <p:cNvPr id="105476" name="Rectangle 5"/>
          <p:cNvSpPr txBox="1">
            <a:spLocks noChangeArrowheads="1"/>
          </p:cNvSpPr>
          <p:nvPr/>
        </p:nvSpPr>
        <p:spPr bwMode="auto">
          <a:xfrm>
            <a:off x="4795538" y="1498570"/>
            <a:ext cx="4312965" cy="5025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Верификация диагноза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Осмотры при легкой средней тяжести 1-2/год, тяжелой 2-4 р/год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Проведение </a:t>
            </a:r>
            <a:r>
              <a:rPr lang="ru-RU" altLang="ru-RU" b="1" dirty="0" err="1">
                <a:solidFill>
                  <a:prstClr val="black"/>
                </a:solidFill>
              </a:rPr>
              <a:t>аллергообследования</a:t>
            </a:r>
            <a:r>
              <a:rPr lang="ru-RU" altLang="ru-RU" b="1" dirty="0">
                <a:solidFill>
                  <a:prstClr val="black"/>
                </a:solidFill>
              </a:rPr>
              <a:t>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Исследование ФВД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Назначение базисной терапии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Мониторинг эффективности базисной терапии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АСИТ (аллерголог)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Рекомендации по оформлению инвалидности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Рекомендации по занятиям спортом, дыхательной гимнастикой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Образовательные беседы (программы) с учетом возраста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Контроль вакцинации;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r>
              <a:rPr lang="ru-RU" altLang="ru-RU" b="1" dirty="0">
                <a:solidFill>
                  <a:prstClr val="black"/>
                </a:solidFill>
              </a:rPr>
              <a:t>Профилактическая работа с населением.</a:t>
            </a:r>
          </a:p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anose="05000000000000000000" pitchFamily="2" charset="2"/>
              <a:buChar char="§"/>
            </a:pPr>
            <a:endParaRPr lang="ru-RU" altLang="ru-RU" b="1" dirty="0">
              <a:solidFill>
                <a:prstClr val="black"/>
              </a:solidFill>
            </a:endParaRPr>
          </a:p>
        </p:txBody>
      </p:sp>
      <p:sp>
        <p:nvSpPr>
          <p:cNvPr id="57352" name="Прямоугольник 9"/>
          <p:cNvSpPr>
            <a:spLocks noChangeArrowheads="1"/>
          </p:cNvSpPr>
          <p:nvPr/>
        </p:nvSpPr>
        <p:spPr bwMode="auto">
          <a:xfrm>
            <a:off x="342320" y="788136"/>
            <a:ext cx="39604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2400" b="1" dirty="0">
                <a:solidFill>
                  <a:srgbClr val="C32D2E">
                    <a:lumMod val="75000"/>
                  </a:srgbClr>
                </a:solidFill>
                <a:cs typeface="Arial" panose="020B0604020202020204" pitchFamily="34" charset="0"/>
              </a:rPr>
              <a:t>Участковый   </a:t>
            </a:r>
            <a:r>
              <a:rPr lang="ru-RU" sz="2400" b="1" dirty="0" smtClean="0">
                <a:solidFill>
                  <a:srgbClr val="C32D2E">
                    <a:lumMod val="75000"/>
                  </a:srgbClr>
                </a:solidFill>
                <a:cs typeface="Arial" panose="020B0604020202020204" pitchFamily="34" charset="0"/>
              </a:rPr>
              <a:t>педиатр</a:t>
            </a:r>
            <a:endParaRPr lang="ru-RU" sz="2400" b="1" dirty="0">
              <a:solidFill>
                <a:srgbClr val="C32D2E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7353" name="Прямоугольник 10"/>
          <p:cNvSpPr>
            <a:spLocks noChangeArrowheads="1"/>
          </p:cNvSpPr>
          <p:nvPr/>
        </p:nvSpPr>
        <p:spPr bwMode="auto">
          <a:xfrm>
            <a:off x="4786314" y="803337"/>
            <a:ext cx="396215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C32D2E">
                    <a:lumMod val="75000"/>
                  </a:srgbClr>
                </a:solidFill>
                <a:cs typeface="Arial" panose="020B0604020202020204" pitchFamily="34" charset="0"/>
              </a:rPr>
              <a:t>Специалисты аллерголог/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000" b="1" dirty="0">
                <a:solidFill>
                  <a:srgbClr val="C32D2E">
                    <a:lumMod val="75000"/>
                  </a:srgbClr>
                </a:solidFill>
                <a:cs typeface="Arial" panose="020B0604020202020204" pitchFamily="34" charset="0"/>
              </a:rPr>
              <a:t>пульмонолог</a:t>
            </a: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54939" cy="70609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altLang="ru-RU" sz="2400" b="1" dirty="0" smtClean="0">
                <a:solidFill>
                  <a:schemeClr val="tx1"/>
                </a:solidFill>
              </a:rPr>
              <a:t>ПЕРСОНАЛИЗИРОВАННЫЙ  ПОДХОД К ДИСПАНСЕРИЗАЦИИ – РАЗДЕЛЕНИЕ КОМПЕТЕНЦИЙ</a:t>
            </a:r>
            <a:br>
              <a:rPr lang="ru-RU" altLang="ru-RU" sz="2400" b="1" dirty="0" smtClean="0">
                <a:solidFill>
                  <a:schemeClr val="tx1"/>
                </a:solidFill>
              </a:rPr>
            </a:br>
            <a:endParaRPr lang="ru-R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9413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-171400"/>
            <a:ext cx="7886700" cy="1325563"/>
          </a:xfrm>
        </p:spPr>
        <p:txBody>
          <a:bodyPr/>
          <a:lstStyle/>
          <a:p>
            <a:pPr algn="ctr">
              <a:defRPr/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лобальное бремя и угроза неинфекционных заболеваний (НИЗ)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752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86" t="14461" r="32246"/>
          <a:stretch>
            <a:fillRect/>
          </a:stretch>
        </p:blipFill>
        <p:spPr>
          <a:xfrm>
            <a:off x="611560" y="1628800"/>
            <a:ext cx="2808287" cy="4319587"/>
          </a:xfrm>
          <a:noFill/>
        </p:spPr>
      </p:pic>
      <p:sp>
        <p:nvSpPr>
          <p:cNvPr id="107524" name="TextBox 4"/>
          <p:cNvSpPr txBox="1">
            <a:spLocks noChangeArrowheads="1"/>
          </p:cNvSpPr>
          <p:nvPr/>
        </p:nvSpPr>
        <p:spPr bwMode="auto">
          <a:xfrm>
            <a:off x="3491880" y="1268760"/>
            <a:ext cx="5148262" cy="535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Крупнейшая угроза общественному здравоохранению , подрывают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социальное и экономическое развитие во всем мире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Показатели заболеваемости и смертности  от НИЗ, в основном, касаются взрослого населения, </a:t>
            </a:r>
            <a:r>
              <a:rPr lang="ru-RU" altLang="ru-RU" b="1" dirty="0">
                <a:solidFill>
                  <a:srgbClr val="FF0000"/>
                </a:solidFill>
              </a:rPr>
              <a:t>воздействие факторов риска проявляется, начиная с раннего возраста</a:t>
            </a:r>
            <a:r>
              <a:rPr lang="ru-RU" altLang="ru-RU" b="1" dirty="0">
                <a:solidFill>
                  <a:prstClr val="black"/>
                </a:solidFill>
              </a:rPr>
              <a:t>.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Если не осуществлять мер по укреплению здоровья, профилактике заболеваний и оказанию комплексной помощи, дети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могут погибать от таких НИЗ, поддающихся лечению, как ревматическая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болезнь сердца, диабет типа I, </a:t>
            </a:r>
            <a:r>
              <a:rPr lang="ru-RU" altLang="ru-RU" b="1" dirty="0">
                <a:solidFill>
                  <a:srgbClr val="FF0000"/>
                </a:solidFill>
              </a:rPr>
              <a:t>астма</a:t>
            </a:r>
            <a:r>
              <a:rPr lang="ru-RU" altLang="ru-RU" b="1" dirty="0">
                <a:solidFill>
                  <a:prstClr val="black"/>
                </a:solidFill>
              </a:rPr>
              <a:t> и лейкемия.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По прогнозам ВОЗ, если не будут приняты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prstClr val="black"/>
                </a:solidFill>
              </a:rPr>
              <a:t>надлежащие меры, к 2030 г. общее число случаев смерти от НИЗ достигнет 55 миллионов в год.</a:t>
            </a:r>
          </a:p>
        </p:txBody>
      </p:sp>
    </p:spTree>
    <p:extLst>
      <p:ext uri="{BB962C8B-B14F-4D97-AF65-F5344CB8AC3E}">
        <p14:creationId xmlns:p14="http://schemas.microsoft.com/office/powerpoint/2010/main" val="2426220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K:\44004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141" y="0"/>
            <a:ext cx="926960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Овал 1"/>
          <p:cNvSpPr/>
          <p:nvPr/>
        </p:nvSpPr>
        <p:spPr bwMode="auto">
          <a:xfrm>
            <a:off x="3203847" y="0"/>
            <a:ext cx="6015615" cy="2276872"/>
          </a:xfrm>
          <a:prstGeom prst="ellipse">
            <a:avLst/>
          </a:prstGeom>
          <a:solidFill>
            <a:schemeClr val="accent1">
              <a:alpha val="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4800" b="1" i="1" dirty="0">
                <a:solidFill>
                  <a:srgbClr val="000000"/>
                </a:solidFill>
                <a:latin typeface="Arial" pitchFamily="34" charset="0"/>
              </a:rPr>
              <a:t>Благодарю за </a:t>
            </a:r>
            <a:r>
              <a:rPr lang="ru-RU" sz="4800" b="1" i="1" dirty="0" smtClean="0">
                <a:solidFill>
                  <a:srgbClr val="000000"/>
                </a:solidFill>
                <a:latin typeface="Arial" pitchFamily="34" charset="0"/>
              </a:rPr>
              <a:t>внимание! </a:t>
            </a:r>
            <a:endParaRPr lang="ru-RU" sz="4800" b="1" i="1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303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043608" y="0"/>
            <a:ext cx="6769100" cy="1030288"/>
          </a:xfrm>
        </p:spPr>
        <p:txBody>
          <a:bodyPr/>
          <a:lstStyle/>
          <a:p>
            <a:pPr eaLnBrk="1" hangingPunct="1"/>
            <a:r>
              <a:rPr lang="ru-RU" sz="3200" b="1" dirty="0" smtClean="0">
                <a:ea typeface="MS PGothic" pitchFamily="34" charset="-128"/>
              </a:rPr>
              <a:t>БОС у детей дошкольного возраста</a:t>
            </a:r>
            <a:endParaRPr lang="nl-NL" sz="3200" b="1" dirty="0" smtClean="0">
              <a:ea typeface="MS PGothic" pitchFamily="34" charset="-128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95288" y="1124752"/>
            <a:ext cx="8534400" cy="4356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42900" indent="-34290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95959"/>
              </a:buClr>
              <a:buSzPct val="100000"/>
              <a:buFontTx/>
              <a:buChar char="•"/>
            </a:pPr>
            <a:r>
              <a:rPr lang="ru-RU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Респираторные заболевания, сопровождающиеся обструкциями, очень часто встречаются у детей дошкольного возраста</a:t>
            </a:r>
            <a:endParaRPr lang="en-GB" sz="2800" dirty="0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 marL="342900" indent="-34290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95959"/>
              </a:buClr>
              <a:buSzPct val="100000"/>
              <a:buFontTx/>
              <a:buChar char="•"/>
            </a:pPr>
            <a:r>
              <a:rPr lang="ru-RU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У каждого третьего ребенка был зафиксирован по крайней мере один эпизод свистящих хрипов</a:t>
            </a:r>
            <a:endParaRPr lang="en-GB" sz="2800" dirty="0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 marL="342900" indent="-34290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95959"/>
              </a:buClr>
              <a:buSzPct val="100000"/>
              <a:buFontTx/>
              <a:buChar char="•"/>
            </a:pPr>
            <a:r>
              <a:rPr lang="ru-RU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Кумулятивная заболеваемость БОС</a:t>
            </a:r>
            <a:r>
              <a:rPr lang="en-GB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: </a:t>
            </a:r>
            <a:r>
              <a:rPr lang="ru-RU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около 60% в возрасте до 6 лет</a:t>
            </a:r>
            <a:endParaRPr lang="en-GB" sz="2800" dirty="0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  <a:p>
            <a:pPr marL="342900" indent="-34290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95959"/>
              </a:buClr>
              <a:buSzPct val="100000"/>
              <a:buFontTx/>
              <a:buChar char="•"/>
            </a:pPr>
            <a:r>
              <a:rPr lang="ru-RU" sz="2800" dirty="0" smtClean="0">
                <a:latin typeface="Arial" pitchFamily="34" charset="0"/>
                <a:ea typeface="MS PGothic" pitchFamily="34" charset="-128"/>
                <a:cs typeface="Arial" pitchFamily="34" charset="0"/>
              </a:rPr>
              <a:t>Тяжелое бремя для семьи и системы здравоохранения</a:t>
            </a:r>
            <a:endParaRPr lang="en-GB" sz="2800" dirty="0" smtClean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339972" name="TextBox 2"/>
          <p:cNvSpPr txBox="1">
            <a:spLocks noChangeArrowheads="1"/>
          </p:cNvSpPr>
          <p:nvPr/>
        </p:nvSpPr>
        <p:spPr bwMode="auto">
          <a:xfrm>
            <a:off x="395304" y="6524705"/>
            <a:ext cx="236635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smtClean="0">
                <a:solidFill>
                  <a:srgbClr val="000000"/>
                </a:solidFill>
              </a:rPr>
              <a:t>БОС-бронхообструктивный синдром</a:t>
            </a:r>
          </a:p>
        </p:txBody>
      </p:sp>
      <p:sp>
        <p:nvSpPr>
          <p:cNvPr id="339973" name="Text Box 17"/>
          <p:cNvSpPr txBox="1">
            <a:spLocks noChangeArrowheads="1"/>
          </p:cNvSpPr>
          <p:nvPr/>
        </p:nvSpPr>
        <p:spPr bwMode="auto">
          <a:xfrm>
            <a:off x="2627313" y="6505655"/>
            <a:ext cx="69151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000" smtClean="0">
                <a:solidFill>
                  <a:srgbClr val="000000"/>
                </a:solidFill>
              </a:rPr>
              <a:t>ERS Task Force, </a:t>
            </a:r>
            <a:r>
              <a:rPr lang="en-US" sz="1000" smtClean="0">
                <a:solidFill>
                  <a:srgbClr val="000000"/>
                </a:solidFill>
              </a:rPr>
              <a:t>Brand P. </a:t>
            </a:r>
            <a:r>
              <a:rPr lang="fr-FR" sz="1000" smtClean="0">
                <a:solidFill>
                  <a:srgbClr val="000000"/>
                </a:solidFill>
              </a:rPr>
              <a:t>Eur Respir J 2008; 32: 1096–1110</a:t>
            </a:r>
            <a:endParaRPr lang="tr-TR" sz="10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0397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042" name="Rectangle 2"/>
          <p:cNvSpPr txBox="1">
            <a:spLocks noChangeArrowheads="1"/>
          </p:cNvSpPr>
          <p:nvPr/>
        </p:nvSpPr>
        <p:spPr bwMode="auto">
          <a:xfrm>
            <a:off x="1187450" y="261938"/>
            <a:ext cx="7777163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400" b="1" smtClean="0">
                <a:solidFill>
                  <a:srgbClr val="FFFFFF"/>
                </a:solidFill>
              </a:rPr>
              <a:t>ИНДЕКС РИСКА АСТМЫ </a:t>
            </a:r>
            <a:r>
              <a:rPr lang="ru-RU" sz="2400" b="1" smtClean="0">
                <a:solidFill>
                  <a:srgbClr val="FFFFFF"/>
                </a:solidFill>
              </a:rPr>
              <a:t/>
            </a:r>
            <a:br>
              <a:rPr lang="ru-RU" sz="2400" b="1" smtClean="0">
                <a:solidFill>
                  <a:srgbClr val="FFFFFF"/>
                </a:solidFill>
              </a:rPr>
            </a:br>
            <a:r>
              <a:rPr lang="en-US" sz="2400" b="1" smtClean="0">
                <a:solidFill>
                  <a:srgbClr val="FFFFFF"/>
                </a:solidFill>
              </a:rPr>
              <a:t>(ASTHMA PREDICTIVE INDEX (API)</a:t>
            </a:r>
            <a:endParaRPr lang="ru-RU" sz="2800" b="1" smtClean="0">
              <a:solidFill>
                <a:srgbClr val="FFFFFF"/>
              </a:solidFill>
            </a:endParaRPr>
          </a:p>
        </p:txBody>
      </p:sp>
      <p:sp>
        <p:nvSpPr>
          <p:cNvPr id="343043" name="Rectangle 3"/>
          <p:cNvSpPr txBox="1">
            <a:spLocks noChangeArrowheads="1"/>
          </p:cNvSpPr>
          <p:nvPr/>
        </p:nvSpPr>
        <p:spPr bwMode="auto">
          <a:xfrm>
            <a:off x="0" y="1484313"/>
            <a:ext cx="9144000" cy="108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CBB37"/>
              </a:buClr>
              <a:buFont typeface="Arial" pitchFamily="34" charset="0"/>
              <a:buNone/>
            </a:pPr>
            <a:r>
              <a:rPr lang="ru-RU" sz="2000" smtClean="0">
                <a:solidFill>
                  <a:srgbClr val="000000"/>
                </a:solidFill>
              </a:rPr>
              <a:t>Распознаются дети с высоким риском астмы </a:t>
            </a:r>
            <a:r>
              <a:rPr lang="ru-RU" sz="2000" b="1" smtClean="0">
                <a:solidFill>
                  <a:srgbClr val="000000"/>
                </a:solidFill>
              </a:rPr>
              <a:t>(2-3 лет)</a:t>
            </a:r>
          </a:p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6CBB37"/>
              </a:buClr>
              <a:buFont typeface="Arial" pitchFamily="34" charset="0"/>
              <a:buNone/>
            </a:pPr>
            <a:r>
              <a:rPr lang="ru-RU" sz="2000" b="1" smtClean="0">
                <a:solidFill>
                  <a:srgbClr val="000000"/>
                </a:solidFill>
              </a:rPr>
              <a:t>&gt;3 (4) </a:t>
            </a:r>
            <a:r>
              <a:rPr lang="ru-RU" sz="2000" smtClean="0">
                <a:solidFill>
                  <a:srgbClr val="000000"/>
                </a:solidFill>
              </a:rPr>
              <a:t>эпизодов свистящих хрипов за последний год </a:t>
            </a:r>
            <a:r>
              <a:rPr lang="ru-RU" sz="2000" b="1" smtClean="0">
                <a:solidFill>
                  <a:srgbClr val="000000"/>
                </a:solidFill>
              </a:rPr>
              <a:t>И</a:t>
            </a:r>
          </a:p>
        </p:txBody>
      </p:sp>
      <p:sp>
        <p:nvSpPr>
          <p:cNvPr id="343044" name="TextBox 6"/>
          <p:cNvSpPr txBox="1">
            <a:spLocks noChangeArrowheads="1"/>
          </p:cNvSpPr>
          <p:nvPr/>
        </p:nvSpPr>
        <p:spPr bwMode="auto">
          <a:xfrm>
            <a:off x="1000125" y="2636838"/>
            <a:ext cx="4143375" cy="335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B0F0"/>
                </a:solidFill>
                <a:ea typeface="MS PGothic" pitchFamily="34" charset="-128"/>
              </a:rPr>
              <a:t>Один большой критери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600" b="1" dirty="0" smtClean="0">
              <a:solidFill>
                <a:srgbClr val="92D05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У одного из родителей подтвержденный диагноз</a:t>
            </a:r>
            <a:b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</a:b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астмы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endParaRPr lang="ru-RU" b="1" dirty="0" smtClean="0">
              <a:solidFill>
                <a:srgbClr val="00000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Подтвержденный диагноз </a:t>
            </a:r>
            <a:r>
              <a:rPr lang="ru-RU" b="1" dirty="0" err="1" smtClean="0">
                <a:solidFill>
                  <a:srgbClr val="000000"/>
                </a:solidFill>
                <a:ea typeface="MS PGothic" pitchFamily="34" charset="-128"/>
              </a:rPr>
              <a:t>атопического</a:t>
            </a: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 дерматита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endParaRPr lang="ru-RU" b="1" dirty="0" smtClean="0">
              <a:solidFill>
                <a:srgbClr val="00000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Чувствительность </a:t>
            </a:r>
            <a:b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</a:br>
            <a:r>
              <a:rPr lang="ru-RU" b="1" dirty="0" smtClean="0">
                <a:solidFill>
                  <a:srgbClr val="000000"/>
                </a:solidFill>
                <a:ea typeface="MS PGothic" pitchFamily="34" charset="-128"/>
              </a:rPr>
              <a:t>к </a:t>
            </a:r>
            <a:r>
              <a:rPr lang="ru-RU" b="1" dirty="0" err="1" smtClean="0">
                <a:solidFill>
                  <a:srgbClr val="000000"/>
                </a:solidFill>
                <a:ea typeface="MS PGothic" pitchFamily="34" charset="-128"/>
              </a:rPr>
              <a:t>аэроаллергенам</a:t>
            </a:r>
            <a:endParaRPr lang="ru-RU" b="1" dirty="0" smtClean="0">
              <a:solidFill>
                <a:srgbClr val="00000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43045" name="TextBox 7"/>
          <p:cNvSpPr txBox="1">
            <a:spLocks noChangeArrowheads="1"/>
          </p:cNvSpPr>
          <p:nvPr/>
        </p:nvSpPr>
        <p:spPr bwMode="auto">
          <a:xfrm>
            <a:off x="5286375" y="2636838"/>
            <a:ext cx="3500438" cy="307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B0F0"/>
                </a:solidFill>
                <a:ea typeface="MS PGothic" pitchFamily="34" charset="-128"/>
              </a:rPr>
              <a:t>Два малых критерия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600" b="1" dirty="0" smtClean="0">
              <a:solidFill>
                <a:srgbClr val="92D05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r>
              <a:rPr lang="ru-RU" b="1" dirty="0">
                <a:solidFill>
                  <a:srgbClr val="000000"/>
                </a:solidFill>
                <a:ea typeface="MS PGothic" pitchFamily="34" charset="-128"/>
              </a:rPr>
              <a:t>Чувствительность </a:t>
            </a:r>
            <a:br>
              <a:rPr lang="ru-RU" b="1" dirty="0">
                <a:solidFill>
                  <a:srgbClr val="000000"/>
                </a:solidFill>
                <a:ea typeface="MS PGothic" pitchFamily="34" charset="-128"/>
              </a:rPr>
            </a:br>
            <a:r>
              <a:rPr lang="ru-RU" b="1" dirty="0">
                <a:solidFill>
                  <a:srgbClr val="000000"/>
                </a:solidFill>
                <a:ea typeface="MS PGothic" pitchFamily="34" charset="-128"/>
              </a:rPr>
              <a:t>к пищевым аллергенам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30000"/>
              <a:buFont typeface="Arial" pitchFamily="34" charset="0"/>
              <a:buChar char="•"/>
            </a:pPr>
            <a:endParaRPr lang="ru-RU" b="1" dirty="0">
              <a:solidFill>
                <a:srgbClr val="00000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20000"/>
              <a:buFont typeface="Arial" pitchFamily="34" charset="0"/>
              <a:buChar char="•"/>
            </a:pPr>
            <a:r>
              <a:rPr lang="ru-RU" b="1" dirty="0" err="1">
                <a:solidFill>
                  <a:srgbClr val="000000"/>
                </a:solidFill>
                <a:ea typeface="MS PGothic" pitchFamily="34" charset="-128"/>
              </a:rPr>
              <a:t>Эозинофиллия</a:t>
            </a:r>
            <a:r>
              <a:rPr lang="ru-RU" b="1" dirty="0">
                <a:solidFill>
                  <a:srgbClr val="000000"/>
                </a:solidFill>
                <a:ea typeface="MS PGothic" pitchFamily="34" charset="-128"/>
              </a:rPr>
              <a:t> в крови </a:t>
            </a:r>
            <a:r>
              <a:rPr lang="ru-RU" b="1" dirty="0">
                <a:solidFill>
                  <a:srgbClr val="00B0F0"/>
                </a:solidFill>
                <a:ea typeface="MS PGothic" pitchFamily="34" charset="-128"/>
              </a:rPr>
              <a:t>(&gt;4%);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30000"/>
              <a:buFont typeface="Arial" pitchFamily="34" charset="0"/>
              <a:buChar char="•"/>
            </a:pPr>
            <a:endParaRPr lang="ru-RU" b="1" dirty="0">
              <a:solidFill>
                <a:srgbClr val="000000"/>
              </a:solidFill>
              <a:ea typeface="MS PGothic" pitchFamily="34" charset="-128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00B0F0"/>
              </a:buClr>
              <a:buSzPct val="130000"/>
              <a:buFont typeface="Arial" pitchFamily="34" charset="0"/>
              <a:buChar char="•"/>
            </a:pPr>
            <a:r>
              <a:rPr lang="ru-RU" b="1" dirty="0">
                <a:solidFill>
                  <a:srgbClr val="000000"/>
                </a:solidFill>
                <a:ea typeface="MS PGothic" pitchFamily="34" charset="-128"/>
              </a:rPr>
              <a:t>Свистящее дыхание </a:t>
            </a:r>
            <a:br>
              <a:rPr lang="ru-RU" b="1" dirty="0">
                <a:solidFill>
                  <a:srgbClr val="000000"/>
                </a:solidFill>
                <a:ea typeface="MS PGothic" pitchFamily="34" charset="-128"/>
              </a:rPr>
            </a:br>
            <a:r>
              <a:rPr lang="ru-RU" b="1" dirty="0">
                <a:solidFill>
                  <a:srgbClr val="000000"/>
                </a:solidFill>
                <a:ea typeface="MS PGothic" pitchFamily="34" charset="-128"/>
              </a:rPr>
              <a:t>не связано с инфекцией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Clr>
                <a:srgbClr val="72AF2F"/>
              </a:buClr>
              <a:buSzPct val="130000"/>
              <a:buFont typeface="Wingdings" pitchFamily="2" charset="2"/>
              <a:buChar char="§"/>
            </a:pPr>
            <a:endParaRPr lang="ru-RU" dirty="0" smtClean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43046" name="TextBox 9"/>
          <p:cNvSpPr txBox="1">
            <a:spLocks noChangeArrowheads="1"/>
          </p:cNvSpPr>
          <p:nvPr/>
        </p:nvSpPr>
        <p:spPr bwMode="auto">
          <a:xfrm>
            <a:off x="4357688" y="2643188"/>
            <a:ext cx="71437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b="1" smtClean="0">
                <a:solidFill>
                  <a:srgbClr val="000000"/>
                </a:solidFill>
              </a:rPr>
              <a:t>ИЛИ</a:t>
            </a:r>
          </a:p>
        </p:txBody>
      </p:sp>
      <p:sp>
        <p:nvSpPr>
          <p:cNvPr id="43015" name="Rectangle 7"/>
          <p:cNvSpPr>
            <a:spLocks noChangeArrowheads="1"/>
          </p:cNvSpPr>
          <p:nvPr/>
        </p:nvSpPr>
        <p:spPr bwMode="auto">
          <a:xfrm>
            <a:off x="6350" y="6416675"/>
            <a:ext cx="9144000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>
              <a:lnSpc>
                <a:spcPct val="107000"/>
              </a:lnSpc>
              <a:buFont typeface="Calibri" charset="0"/>
              <a:buAutoNum type="arabicPeriod"/>
              <a:defRPr/>
            </a:pPr>
            <a:r>
              <a:rPr lang="en-US" sz="1000" i="1">
                <a:solidFill>
                  <a:prstClr val="black"/>
                </a:solidFill>
                <a:cs typeface="Arial" pitchFamily="34" charset="0"/>
              </a:rPr>
              <a:t>From the Global Strategy for Asthma Management and Prevention, Global Initiative for Asthma (GINA) 2015.</a:t>
            </a:r>
            <a:r>
              <a:rPr lang="ru-RU" sz="1000" i="1">
                <a:solidFill>
                  <a:prstClr val="black"/>
                </a:solidFill>
                <a:cs typeface="Arial" pitchFamily="34" charset="0"/>
              </a:rPr>
              <a:t> Available from: </a:t>
            </a:r>
            <a:r>
              <a:rPr lang="ru-RU" sz="1000" i="1" u="sng">
                <a:solidFill>
                  <a:srgbClr val="0563C1"/>
                </a:solidFill>
                <a:cs typeface="Arial" pitchFamily="34" charset="0"/>
                <a:hlinkClick r:id="rId2"/>
              </a:rPr>
              <a:t>http://www.ginasthma.org/</a:t>
            </a:r>
            <a:endParaRPr lang="ru-RU" sz="1000" i="1">
              <a:solidFill>
                <a:prstClr val="black"/>
              </a:solidFill>
              <a:cs typeface="Arial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Calibri" charset="0"/>
              <a:buAutoNum type="arabicPeriod"/>
              <a:defRPr/>
            </a:pPr>
            <a:r>
              <a:rPr lang="ru-RU" sz="1000" i="1">
                <a:solidFill>
                  <a:prstClr val="black"/>
                </a:solidFill>
                <a:cs typeface="Arial" pitchFamily="34" charset="0"/>
              </a:rPr>
              <a:t>Национальная программа «Бронхиальная астма у детей. Стратегия лечения и профилактика». 4-е изд, М., 2012</a:t>
            </a:r>
          </a:p>
        </p:txBody>
      </p:sp>
    </p:spTree>
    <p:extLst>
      <p:ext uri="{BB962C8B-B14F-4D97-AF65-F5344CB8AC3E}">
        <p14:creationId xmlns:p14="http://schemas.microsoft.com/office/powerpoint/2010/main" val="212128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ixN6NnpUgYPDdafOL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ixN6NnpUgYPDdafOL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LixN6NnpUgYPDdafOL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imZKVvjQ5F8AiD7XnZqQ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40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_rels/theme46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_rels/theme8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Колосова НГ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2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Пикантный">
  <a:themeElements>
    <a:clrScheme name="Пикантный 8">
      <a:dk1>
        <a:srgbClr val="000000"/>
      </a:dk1>
      <a:lt1>
        <a:srgbClr val="FF9900"/>
      </a:lt1>
      <a:dk2>
        <a:srgbClr val="FFFFFF"/>
      </a:dk2>
      <a:lt2>
        <a:srgbClr val="000000"/>
      </a:lt2>
      <a:accent1>
        <a:srgbClr val="FF0000"/>
      </a:accent1>
      <a:accent2>
        <a:srgbClr val="800080"/>
      </a:accent2>
      <a:accent3>
        <a:srgbClr val="FFCAAA"/>
      </a:accent3>
      <a:accent4>
        <a:srgbClr val="000000"/>
      </a:accent4>
      <a:accent5>
        <a:srgbClr val="FFAAAA"/>
      </a:accent5>
      <a:accent6>
        <a:srgbClr val="730073"/>
      </a:accent6>
      <a:hlink>
        <a:srgbClr val="A50021"/>
      </a:hlink>
      <a:folHlink>
        <a:srgbClr val="996600"/>
      </a:folHlink>
    </a:clrScheme>
    <a:fontScheme name="Пикантный">
      <a:majorFont>
        <a:latin typeface="Arial Black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Пикантный 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C3399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2ADCA"/>
        </a:accent5>
        <a:accent6>
          <a:srgbClr val="00005C"/>
        </a:accent6>
        <a:hlink>
          <a:srgbClr val="CC66FF"/>
        </a:hlink>
        <a:folHlink>
          <a:srgbClr val="6600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3">
        <a:dk1>
          <a:srgbClr val="000000"/>
        </a:dk1>
        <a:lt1>
          <a:srgbClr val="FFFFFF"/>
        </a:lt1>
        <a:dk2>
          <a:srgbClr val="F8F8F8"/>
        </a:dk2>
        <a:lt2>
          <a:srgbClr val="336699"/>
        </a:lt2>
        <a:accent1>
          <a:srgbClr val="0099FF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B9B9"/>
        </a:accent6>
        <a:hlink>
          <a:srgbClr val="CC00CC"/>
        </a:hlink>
        <a:folHlink>
          <a:srgbClr val="3333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7300"/>
        </a:accent6>
        <a:hlink>
          <a:srgbClr val="FFFFFF"/>
        </a:hlink>
        <a:folHlink>
          <a:srgbClr val="00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5">
        <a:dk1>
          <a:srgbClr val="000000"/>
        </a:dk1>
        <a:lt1>
          <a:srgbClr val="FFFFCC"/>
        </a:lt1>
        <a:dk2>
          <a:srgbClr val="FFFFFF"/>
        </a:dk2>
        <a:lt2>
          <a:srgbClr val="C58051"/>
        </a:lt2>
        <a:accent1>
          <a:srgbClr val="99CC00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CAE2AA"/>
        </a:accent5>
        <a:accent6>
          <a:srgbClr val="730000"/>
        </a:accent6>
        <a:hlink>
          <a:srgbClr val="FF00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6">
        <a:dk1>
          <a:srgbClr val="000000"/>
        </a:dk1>
        <a:lt1>
          <a:srgbClr val="FFFFFF"/>
        </a:lt1>
        <a:dk2>
          <a:srgbClr val="000066"/>
        </a:dk2>
        <a:lt2>
          <a:srgbClr val="FFFFFF"/>
        </a:lt2>
        <a:accent1>
          <a:srgbClr val="F8F8F8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005CE7"/>
        </a:accent6>
        <a:hlink>
          <a:srgbClr val="FF0033"/>
        </a:hlink>
        <a:folHlink>
          <a:srgbClr val="000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7">
        <a:dk1>
          <a:srgbClr val="0000CC"/>
        </a:dk1>
        <a:lt1>
          <a:srgbClr val="FFFFFF"/>
        </a:lt1>
        <a:dk2>
          <a:srgbClr val="000000"/>
        </a:dk2>
        <a:lt2>
          <a:srgbClr val="FFFFFF"/>
        </a:lt2>
        <a:accent1>
          <a:srgbClr val="3366FF"/>
        </a:accent1>
        <a:accent2>
          <a:srgbClr val="000066"/>
        </a:accent2>
        <a:accent3>
          <a:srgbClr val="AAAAAA"/>
        </a:accent3>
        <a:accent4>
          <a:srgbClr val="DADADA"/>
        </a:accent4>
        <a:accent5>
          <a:srgbClr val="ADB8FF"/>
        </a:accent5>
        <a:accent6>
          <a:srgbClr val="00005C"/>
        </a:accent6>
        <a:hlink>
          <a:srgbClr val="333399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антный 8">
        <a:dk1>
          <a:srgbClr val="000000"/>
        </a:dk1>
        <a:lt1>
          <a:srgbClr val="FF9900"/>
        </a:lt1>
        <a:dk2>
          <a:srgbClr val="FFFFFF"/>
        </a:dk2>
        <a:lt2>
          <a:srgbClr val="000000"/>
        </a:lt2>
        <a:accent1>
          <a:srgbClr val="FF0000"/>
        </a:accent1>
        <a:accent2>
          <a:srgbClr val="800080"/>
        </a:accent2>
        <a:accent3>
          <a:srgbClr val="FFCAAA"/>
        </a:accent3>
        <a:accent4>
          <a:srgbClr val="000000"/>
        </a:accent4>
        <a:accent5>
          <a:srgbClr val="FFAAAA"/>
        </a:accent5>
        <a:accent6>
          <a:srgbClr val="730073"/>
        </a:accent6>
        <a:hlink>
          <a:srgbClr val="A50021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антный 9">
        <a:dk1>
          <a:srgbClr val="000000"/>
        </a:dk1>
        <a:lt1>
          <a:srgbClr val="FFFFFF"/>
        </a:lt1>
        <a:dk2>
          <a:srgbClr val="FFFFFF"/>
        </a:dk2>
        <a:lt2>
          <a:srgbClr val="FF9900"/>
        </a:lt2>
        <a:accent1>
          <a:srgbClr val="FF0000"/>
        </a:accent1>
        <a:accent2>
          <a:srgbClr val="80008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730073"/>
        </a:accent6>
        <a:hlink>
          <a:srgbClr val="A50021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4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5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4_Office Theme">
  <a:themeElements>
    <a:clrScheme name="Custom 18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263C2"/>
      </a:hlink>
      <a:folHlink>
        <a:srgbClr val="2263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2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3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5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6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_Геппе Н.А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4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5875" cap="flat" cmpd="sng" algn="ctr">
          <a:solidFill>
            <a:srgbClr val="FFFF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5875" cap="flat" cmpd="sng" algn="ctr">
          <a:solidFill>
            <a:srgbClr val="FFFF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9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10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6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4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5.xml><?xml version="1.0" encoding="utf-8"?>
<a:theme xmlns:a="http://schemas.openxmlformats.org/drawingml/2006/main" name="5_Мизерницкий ЮЛ">
  <a:themeElements>
    <a:clrScheme name="">
      <a:dk1>
        <a:srgbClr val="000000"/>
      </a:dk1>
      <a:lt1>
        <a:srgbClr val="FFFFCC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E2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7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9.xml><?xml version="1.0" encoding="utf-8"?>
<a:theme xmlns:a="http://schemas.openxmlformats.org/drawingml/2006/main" name="4_Обычная">
  <a:themeElements>
    <a:clrScheme name="Другая 8">
      <a:dk1>
        <a:srgbClr val="1E5D15"/>
      </a:dk1>
      <a:lt1>
        <a:srgbClr val="FFFFFF"/>
      </a:lt1>
      <a:dk2>
        <a:srgbClr val="309321"/>
      </a:dk2>
      <a:lt2>
        <a:srgbClr val="8BDC42"/>
      </a:lt2>
      <a:accent1>
        <a:srgbClr val="457A16"/>
      </a:accent1>
      <a:accent2>
        <a:srgbClr val="FF9E00"/>
      </a:accent2>
      <a:accent3>
        <a:srgbClr val="AAAEAA"/>
      </a:accent3>
      <a:accent4>
        <a:srgbClr val="DADADA"/>
      </a:accent4>
      <a:accent5>
        <a:srgbClr val="B6CEAB"/>
      </a:accent5>
      <a:accent6>
        <a:srgbClr val="A8C016"/>
      </a:accent6>
      <a:hlink>
        <a:srgbClr val="F63F1B"/>
      </a:hlink>
      <a:folHlink>
        <a:srgbClr val="FFBF56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Геппе Н.А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0.xml><?xml version="1.0" encoding="utf-8"?>
<a:theme xmlns:a="http://schemas.openxmlformats.org/drawingml/2006/main" name="9_Геппе НА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41.xml><?xml version="1.0" encoding="utf-8"?>
<a:theme xmlns:a="http://schemas.openxmlformats.org/drawingml/2006/main" name="4_Гепп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4.xml><?xml version="1.0" encoding="utf-8"?>
<a:theme xmlns:a="http://schemas.openxmlformats.org/drawingml/2006/main" name="14_Колосова НГ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5.xml><?xml version="1.0" encoding="utf-8"?>
<a:theme xmlns:a="http://schemas.openxmlformats.org/drawingml/2006/main" name="7_Тема Office Натива_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6.xml><?xml version="1.0" encoding="utf-8"?>
<a:theme xmlns:a="http://schemas.openxmlformats.org/drawingml/2006/main" name="20_Геппе НА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47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1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Гепп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0.xml><?xml version="1.0" encoding="utf-8"?>
<a:theme xmlns:a="http://schemas.openxmlformats.org/drawingml/2006/main" name="2 Геппе Н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1.xml><?xml version="1.0" encoding="utf-8"?>
<a:theme xmlns:a="http://schemas.openxmlformats.org/drawingml/2006/main" name="10_DUPIXENT TEMPLATE">
  <a:themeElements>
    <a:clrScheme name="Dupixent19">
      <a:dk1>
        <a:srgbClr val="000000"/>
      </a:dk1>
      <a:lt1>
        <a:srgbClr val="FFFFFF"/>
      </a:lt1>
      <a:dk2>
        <a:srgbClr val="82CABA"/>
      </a:dk2>
      <a:lt2>
        <a:srgbClr val="645550"/>
      </a:lt2>
      <a:accent1>
        <a:srgbClr val="009B77"/>
      </a:accent1>
      <a:accent2>
        <a:srgbClr val="F2A900"/>
      </a:accent2>
      <a:accent3>
        <a:srgbClr val="97D700"/>
      </a:accent3>
      <a:accent4>
        <a:srgbClr val="D1DF00"/>
      </a:accent4>
      <a:accent5>
        <a:srgbClr val="FF8F1C"/>
      </a:accent5>
      <a:accent6>
        <a:srgbClr val="FFC600"/>
      </a:accent6>
      <a:hlink>
        <a:srgbClr val="00AAC0"/>
      </a:hlink>
      <a:folHlink>
        <a:srgbClr val="A0806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>
        <a:noAutofit/>
      </a:bodyPr>
      <a:lstStyle>
        <a:defPPr algn="ctr">
          <a:defRPr b="1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cap="rnd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spAutoFit/>
      </a:bodyPr>
      <a:lstStyle>
        <a:defPPr algn="ctr">
          <a:defRPr sz="2000" b="1" dirty="0" smtClean="0">
            <a:solidFill>
              <a:schemeClr val="bg2"/>
            </a:solidFill>
            <a:latin typeface="Arial" panose="02080604020202020204" pitchFamily="34" charset="0"/>
            <a:cs typeface="Arial" panose="0208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ustom Design">
  <a:themeElements>
    <a:clrScheme name="3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5875" cap="flat" cmpd="sng" algn="ctr">
          <a:solidFill>
            <a:srgbClr val="FFFF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5875" cap="flat" cmpd="sng" algn="ctr">
          <a:solidFill>
            <a:srgbClr val="FFFFFF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none" strike="noStrike" cap="none" normalizeH="0" baseline="0" smtClean="0">
            <a:ln>
              <a:noFill/>
            </a:ln>
            <a:solidFill>
              <a:srgbClr val="FFFFFF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Геппе НА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Геппе НА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Колосова НГ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Другая 8">
    <a:dk1>
      <a:srgbClr val="1E5D15"/>
    </a:dk1>
    <a:lt1>
      <a:srgbClr val="FFFFFF"/>
    </a:lt1>
    <a:dk2>
      <a:srgbClr val="309321"/>
    </a:dk2>
    <a:lt2>
      <a:srgbClr val="8BDC42"/>
    </a:lt2>
    <a:accent1>
      <a:srgbClr val="457A16"/>
    </a:accent1>
    <a:accent2>
      <a:srgbClr val="FF9E00"/>
    </a:accent2>
    <a:accent3>
      <a:srgbClr val="AAAEAA"/>
    </a:accent3>
    <a:accent4>
      <a:srgbClr val="DADADA"/>
    </a:accent4>
    <a:accent5>
      <a:srgbClr val="B6CEAB"/>
    </a:accent5>
    <a:accent6>
      <a:srgbClr val="A8C016"/>
    </a:accent6>
    <a:hlink>
      <a:srgbClr val="F63F1B"/>
    </a:hlink>
    <a:folHlink>
      <a:srgbClr val="FFBF56"/>
    </a:folHlink>
  </a:clrScheme>
</a:themeOverride>
</file>

<file path=ppt/theme/themeOverride2.xml><?xml version="1.0" encoding="utf-8"?>
<a:themeOverride xmlns:a="http://schemas.openxmlformats.org/drawingml/2006/main">
  <a:clrScheme name="Другая 8">
    <a:dk1>
      <a:srgbClr val="1E5D15"/>
    </a:dk1>
    <a:lt1>
      <a:srgbClr val="FFFFFF"/>
    </a:lt1>
    <a:dk2>
      <a:srgbClr val="309321"/>
    </a:dk2>
    <a:lt2>
      <a:srgbClr val="8BDC42"/>
    </a:lt2>
    <a:accent1>
      <a:srgbClr val="457A16"/>
    </a:accent1>
    <a:accent2>
      <a:srgbClr val="FF9E00"/>
    </a:accent2>
    <a:accent3>
      <a:srgbClr val="AAAEAA"/>
    </a:accent3>
    <a:accent4>
      <a:srgbClr val="DADADA"/>
    </a:accent4>
    <a:accent5>
      <a:srgbClr val="B6CEAB"/>
    </a:accent5>
    <a:accent6>
      <a:srgbClr val="A8C016"/>
    </a:accent6>
    <a:hlink>
      <a:srgbClr val="F63F1B"/>
    </a:hlink>
    <a:folHlink>
      <a:srgbClr val="FFBF56"/>
    </a:folHlink>
  </a:clrScheme>
</a:themeOverride>
</file>

<file path=ppt/theme/themeOverride3.xml><?xml version="1.0" encoding="utf-8"?>
<a:themeOverride xmlns:a="http://schemas.openxmlformats.org/drawingml/2006/main">
  <a:clrScheme name="Другая 8">
    <a:dk1>
      <a:srgbClr val="1E5D15"/>
    </a:dk1>
    <a:lt1>
      <a:srgbClr val="FFFFFF"/>
    </a:lt1>
    <a:dk2>
      <a:srgbClr val="309321"/>
    </a:dk2>
    <a:lt2>
      <a:srgbClr val="8BDC42"/>
    </a:lt2>
    <a:accent1>
      <a:srgbClr val="457A16"/>
    </a:accent1>
    <a:accent2>
      <a:srgbClr val="FF9E00"/>
    </a:accent2>
    <a:accent3>
      <a:srgbClr val="AAAEAA"/>
    </a:accent3>
    <a:accent4>
      <a:srgbClr val="DADADA"/>
    </a:accent4>
    <a:accent5>
      <a:srgbClr val="B6CEAB"/>
    </a:accent5>
    <a:accent6>
      <a:srgbClr val="A8C016"/>
    </a:accent6>
    <a:hlink>
      <a:srgbClr val="F63F1B"/>
    </a:hlink>
    <a:folHlink>
      <a:srgbClr val="FFBF5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</TotalTime>
  <Words>6309</Words>
  <Application>Microsoft Office PowerPoint</Application>
  <PresentationFormat>Экран (4:3)</PresentationFormat>
  <Paragraphs>937</Paragraphs>
  <Slides>72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5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72</vt:i4>
      </vt:variant>
    </vt:vector>
  </HeadingPairs>
  <TitlesOfParts>
    <vt:vector size="127" baseType="lpstr">
      <vt:lpstr>Обычная</vt:lpstr>
      <vt:lpstr>1_Тема Office</vt:lpstr>
      <vt:lpstr>1_Обычная</vt:lpstr>
      <vt:lpstr>Геппе Н.А</vt:lpstr>
      <vt:lpstr>1_Геппе</vt:lpstr>
      <vt:lpstr>3_Custom Design</vt:lpstr>
      <vt:lpstr>Геппе НА</vt:lpstr>
      <vt:lpstr>1_Геппе НА</vt:lpstr>
      <vt:lpstr>Колосова НГ</vt:lpstr>
      <vt:lpstr>1_Колосова НГ</vt:lpstr>
      <vt:lpstr>Тема Office Натива_1</vt:lpstr>
      <vt:lpstr>1_Тема Office Натива_1</vt:lpstr>
      <vt:lpstr>2_Тема Office Натива_1</vt:lpstr>
      <vt:lpstr>Пикантный</vt:lpstr>
      <vt:lpstr>3_Тема Office Натива_1</vt:lpstr>
      <vt:lpstr>4_Тема Office Натива_1</vt:lpstr>
      <vt:lpstr>5_Тема Office Натива_1</vt:lpstr>
      <vt:lpstr>4_Office Theme</vt:lpstr>
      <vt:lpstr>2_Обычная</vt:lpstr>
      <vt:lpstr>3_Обычная</vt:lpstr>
      <vt:lpstr>5_Обычная</vt:lpstr>
      <vt:lpstr>6_Обычная</vt:lpstr>
      <vt:lpstr>8_Тема Office</vt:lpstr>
      <vt:lpstr>Оформление по умолчанию</vt:lpstr>
      <vt:lpstr>1_Оформление по умолчанию</vt:lpstr>
      <vt:lpstr>2_Оформление по умолчанию</vt:lpstr>
      <vt:lpstr>1_Геппе Н.А</vt:lpstr>
      <vt:lpstr>4_Custom Design</vt:lpstr>
      <vt:lpstr>5_Оформление по умолчанию</vt:lpstr>
      <vt:lpstr>6_Оформление по умолчанию</vt:lpstr>
      <vt:lpstr>9_Оформление по умолчанию</vt:lpstr>
      <vt:lpstr>10_Оформление по умолчанию</vt:lpstr>
      <vt:lpstr>6_Тема Office Натива_1</vt:lpstr>
      <vt:lpstr>8_Office Theme</vt:lpstr>
      <vt:lpstr>5_Мизерницкий ЮЛ</vt:lpstr>
      <vt:lpstr>9_Office Theme</vt:lpstr>
      <vt:lpstr>10_Office Theme</vt:lpstr>
      <vt:lpstr>1_Office Theme</vt:lpstr>
      <vt:lpstr>4_Обычная</vt:lpstr>
      <vt:lpstr>9_Геппе НА</vt:lpstr>
      <vt:lpstr>4_Геппе</vt:lpstr>
      <vt:lpstr>2_Тема Office</vt:lpstr>
      <vt:lpstr>3_Тема Office</vt:lpstr>
      <vt:lpstr>14_Колосова НГ</vt:lpstr>
      <vt:lpstr>7_Тема Office Натива_1</vt:lpstr>
      <vt:lpstr>20_Геппе НА</vt:lpstr>
      <vt:lpstr>3_Оформление по умолчанию</vt:lpstr>
      <vt:lpstr>11_Оформление по умолчанию</vt:lpstr>
      <vt:lpstr>4_Тема Office</vt:lpstr>
      <vt:lpstr>2 Геппе НА</vt:lpstr>
      <vt:lpstr>10_DUPIXENT TEMPLATE</vt:lpstr>
      <vt:lpstr>think-cell Slide</vt:lpstr>
      <vt:lpstr>Документ</vt:lpstr>
      <vt:lpstr>Диаграмма Microsoft Excel</vt:lpstr>
      <vt:lpstr>TCLayout.ActiveDocument.1</vt:lpstr>
      <vt:lpstr>Новые  подходы к диагностике и  лечению бронхиальной астмы у детей </vt:lpstr>
      <vt:lpstr>Определение БА (GINA 2018-2019)</vt:lpstr>
      <vt:lpstr>Бронхиальная астма: состояние проблемы</vt:lpstr>
      <vt:lpstr>Презентация PowerPoint</vt:lpstr>
      <vt:lpstr>БРОНХИАЛЬНАЯ АСТМА</vt:lpstr>
      <vt:lpstr>БРОНХИАЛЬНАЯ АСТМА</vt:lpstr>
      <vt:lpstr>Вирусные инфекции – как триггер обострения астмы</vt:lpstr>
      <vt:lpstr>БОС у детей дошкольного возраста</vt:lpstr>
      <vt:lpstr>Презентация PowerPoint</vt:lpstr>
      <vt:lpstr>Диагностика  в разные возрастные периоды</vt:lpstr>
      <vt:lpstr>Презентация PowerPoint</vt:lpstr>
      <vt:lpstr>Диагностические критерии БА у  взрослых, подростков и детей 6-11 лет</vt:lpstr>
      <vt:lpstr>Классификация тяжести БА у детей</vt:lpstr>
      <vt:lpstr>Современные подходы к оценке тяжести течения астмы: GINA 2018 </vt:lpstr>
      <vt:lpstr>Недостатки классификации БА по степени тяжести</vt:lpstr>
      <vt:lpstr>GINA 2006-2009: </vt:lpstr>
      <vt:lpstr>Презентация PowerPoint</vt:lpstr>
      <vt:lpstr>Презентация PowerPoint</vt:lpstr>
      <vt:lpstr>Презентация PowerPoint</vt:lpstr>
      <vt:lpstr>Презентация PowerPoint</vt:lpstr>
      <vt:lpstr>      Гетерогенная астма… Фенотипы</vt:lpstr>
      <vt:lpstr>Зачем нужны фенотипы?</vt:lpstr>
      <vt:lpstr>Th2- зависимые эндотипы</vt:lpstr>
      <vt:lpstr>ЗНАЧИМОСТЬ ФЕНОТИПОВ БА В ЗАВИСИМОСТИ ОТ ВОЗРАСТА РЕБЕНКА  (PRАCTALL consensus report, 2008) </vt:lpstr>
      <vt:lpstr> АСТМА ФИЗИЧЕСКОГО УСИЛИЯ</vt:lpstr>
      <vt:lpstr>Презентация PowerPoint</vt:lpstr>
      <vt:lpstr>Презентация PowerPoint</vt:lpstr>
      <vt:lpstr>Основные направления в терапии бронхиальной астмы у детей</vt:lpstr>
      <vt:lpstr>Презентация PowerPoint</vt:lpstr>
      <vt:lpstr>Презентация PowerPoint</vt:lpstr>
      <vt:lpstr>Рекомендации GINA (2019) предполагают ступенчатый подход к терапии бронхиальной астмы, направленный на достижение контроля заболевания1</vt:lpstr>
      <vt:lpstr>Рекомендации GINA (2019) предполагают ступенчатый подход к терапии бронхиальной астмы, направленный на достижение контроля заболевания1</vt:lpstr>
      <vt:lpstr>Презентация PowerPoint</vt:lpstr>
      <vt:lpstr>Лекарственные средства при БА</vt:lpstr>
      <vt:lpstr>Препараты β2-агонистов, используемые в ингаляционной терапии</vt:lpstr>
      <vt:lpstr>Агонисты  β2-адренергических рецепторов</vt:lpstr>
      <vt:lpstr>Ингаляционные глюкокортикостероиды (ИГКС)</vt:lpstr>
      <vt:lpstr>ИГКС </vt:lpstr>
      <vt:lpstr>Презентация PowerPoint</vt:lpstr>
      <vt:lpstr>Презентация PowerPoint</vt:lpstr>
      <vt:lpstr>Системные глюкокортикостероиды</vt:lpstr>
      <vt:lpstr>Показания к применению системных стероидов при острой обструкции : </vt:lpstr>
      <vt:lpstr>Презентация PowerPoint</vt:lpstr>
      <vt:lpstr>Презентация PowerPoint</vt:lpstr>
      <vt:lpstr>Презентация PowerPoint</vt:lpstr>
      <vt:lpstr>Презентация PowerPoint</vt:lpstr>
      <vt:lpstr>Лейкотриены играют ключевую роль в патогенезе респираторных заболеваний, индуцированных вирусной инфекцией</vt:lpstr>
      <vt:lpstr>Презентация PowerPoint</vt:lpstr>
      <vt:lpstr>Презентация PowerPoint</vt:lpstr>
      <vt:lpstr>ВЫБРОС МЕДИАТОРОВ ВОСПАЛЕНИЯ</vt:lpstr>
      <vt:lpstr>МЕДИАТОРЫ ВОСПАЛЕНИЯ</vt:lpstr>
      <vt:lpstr>Лейкотриены – активные медиаторы воспаления при БА  </vt:lpstr>
      <vt:lpstr>Цистеиниловые лейкотриены:  действие на дыхательные пути</vt:lpstr>
      <vt:lpstr>Антагонисты лейкотриеновых рецепторов:  действие на дыхательные пути</vt:lpstr>
      <vt:lpstr>Когда целесообразно назначение антилейкотриеновых препаратов? </vt:lpstr>
      <vt:lpstr>СИНГЛО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нти-IgE терапия бронхиальной астмы: омализумаб</vt:lpstr>
      <vt:lpstr>Роль омализумаба  в терапии БА у детей</vt:lpstr>
      <vt:lpstr>Анти-IgE терапия у детей с БА  в реальной клинической практике</vt:lpstr>
      <vt:lpstr>Анти-IgE терапия снижает частоту эпизодов вирусной инфекции  у детей с БА*</vt:lpstr>
      <vt:lpstr>Анти-IgE терапия бронхиальной астмы: омализумаб</vt:lpstr>
      <vt:lpstr>Эволюция таргетной биологической терапии для лечения БА</vt:lpstr>
      <vt:lpstr>Показания для госпитализации детей больных бронхиальной астмой</vt:lpstr>
      <vt:lpstr>Выписка из стационара</vt:lpstr>
      <vt:lpstr>ПЕРСОНАЛИЗИРОВАННЫЙ  ПОДХОД К ДИСПАНСЕРИЗАЦИИ – РАЗДЕЛЕНИЕ КОМПЕТЕНЦИЙ </vt:lpstr>
      <vt:lpstr>Глобальное бремя и угроза неинфекционных заболеваний (НИЗ)</vt:lpstr>
      <vt:lpstr>Презентация PowerPoint</vt:lpstr>
    </vt:vector>
  </TitlesOfParts>
  <Company>Hom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Noname</dc:creator>
  <cp:lastModifiedBy>User</cp:lastModifiedBy>
  <cp:revision>120</cp:revision>
  <cp:lastPrinted>2020-03-16T09:02:16Z</cp:lastPrinted>
  <dcterms:created xsi:type="dcterms:W3CDTF">2017-10-11T06:28:42Z</dcterms:created>
  <dcterms:modified xsi:type="dcterms:W3CDTF">2020-03-16T09:03:11Z</dcterms:modified>
</cp:coreProperties>
</file>